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49"/>
  </p:notesMasterIdLst>
  <p:sldIdLst>
    <p:sldId id="256" r:id="rId5"/>
    <p:sldId id="270" r:id="rId6"/>
    <p:sldId id="257" r:id="rId7"/>
    <p:sldId id="259" r:id="rId8"/>
    <p:sldId id="260" r:id="rId9"/>
    <p:sldId id="258" r:id="rId10"/>
    <p:sldId id="261" r:id="rId11"/>
    <p:sldId id="262" r:id="rId12"/>
    <p:sldId id="263" r:id="rId13"/>
    <p:sldId id="304" r:id="rId14"/>
    <p:sldId id="303" r:id="rId15"/>
    <p:sldId id="267" r:id="rId16"/>
    <p:sldId id="268" r:id="rId17"/>
    <p:sldId id="264" r:id="rId18"/>
    <p:sldId id="266" r:id="rId19"/>
    <p:sldId id="269" r:id="rId20"/>
    <p:sldId id="271" r:id="rId21"/>
    <p:sldId id="272" r:id="rId22"/>
    <p:sldId id="273" r:id="rId23"/>
    <p:sldId id="275" r:id="rId24"/>
    <p:sldId id="276" r:id="rId25"/>
    <p:sldId id="277" r:id="rId26"/>
    <p:sldId id="286" r:id="rId27"/>
    <p:sldId id="278" r:id="rId28"/>
    <p:sldId id="279" r:id="rId29"/>
    <p:sldId id="280" r:id="rId30"/>
    <p:sldId id="282" r:id="rId31"/>
    <p:sldId id="281" r:id="rId32"/>
    <p:sldId id="283" r:id="rId33"/>
    <p:sldId id="284" r:id="rId34"/>
    <p:sldId id="285" r:id="rId35"/>
    <p:sldId id="294" r:id="rId36"/>
    <p:sldId id="287" r:id="rId37"/>
    <p:sldId id="289" r:id="rId38"/>
    <p:sldId id="300" r:id="rId39"/>
    <p:sldId id="290" r:id="rId40"/>
    <p:sldId id="291" r:id="rId41"/>
    <p:sldId id="292" r:id="rId42"/>
    <p:sldId id="295" r:id="rId43"/>
    <p:sldId id="296" r:id="rId44"/>
    <p:sldId id="297" r:id="rId45"/>
    <p:sldId id="299" r:id="rId46"/>
    <p:sldId id="302" r:id="rId47"/>
    <p:sldId id="301" r:id="rId48"/>
  </p:sldIdLst>
  <p:sldSz cx="12192000" cy="6858000"/>
  <p:notesSz cx="6858000" cy="9144000"/>
  <p:custDataLst>
    <p:tags r:id="rId5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tent" id="{25DE640F-EC35-4D9A-B4F3-4F3B53D930CC}">
          <p14:sldIdLst>
            <p14:sldId id="256"/>
            <p14:sldId id="270"/>
            <p14:sldId id="257"/>
            <p14:sldId id="259"/>
            <p14:sldId id="260"/>
            <p14:sldId id="258"/>
            <p14:sldId id="261"/>
            <p14:sldId id="262"/>
            <p14:sldId id="263"/>
            <p14:sldId id="304"/>
            <p14:sldId id="303"/>
            <p14:sldId id="267"/>
            <p14:sldId id="268"/>
            <p14:sldId id="264"/>
            <p14:sldId id="266"/>
            <p14:sldId id="269"/>
            <p14:sldId id="271"/>
            <p14:sldId id="272"/>
            <p14:sldId id="273"/>
            <p14:sldId id="275"/>
            <p14:sldId id="276"/>
            <p14:sldId id="277"/>
            <p14:sldId id="286"/>
            <p14:sldId id="278"/>
            <p14:sldId id="279"/>
            <p14:sldId id="280"/>
            <p14:sldId id="282"/>
            <p14:sldId id="281"/>
            <p14:sldId id="283"/>
            <p14:sldId id="284"/>
            <p14:sldId id="285"/>
            <p14:sldId id="294"/>
            <p14:sldId id="287"/>
            <p14:sldId id="289"/>
            <p14:sldId id="300"/>
            <p14:sldId id="290"/>
            <p14:sldId id="291"/>
            <p14:sldId id="292"/>
            <p14:sldId id="295"/>
            <p14:sldId id="296"/>
            <p14:sldId id="297"/>
            <p14:sldId id="299"/>
            <p14:sldId id="302"/>
            <p14:sldId id="30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A86A7B8-10D6-37D8-8ECB-3A661850EE68}" name="Josef Seefeldt" initials="JS" userId="S::Josef.Seefeldt@enertrag.com::511a017b-c9ed-4909-8971-18758b02df3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ECB84"/>
    <a:srgbClr val="D4AAD4"/>
    <a:srgbClr val="3BAA35"/>
    <a:srgbClr val="C7DF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41" autoAdjust="0"/>
    <p:restoredTop sz="94660"/>
  </p:normalViewPr>
  <p:slideViewPr>
    <p:cSldViewPr snapToGrid="0">
      <p:cViewPr varScale="1">
        <p:scale>
          <a:sx n="153" d="100"/>
          <a:sy n="153" d="100"/>
        </p:scale>
        <p:origin x="64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tags" Target="tags/tag1.xml"/><Relationship Id="rId55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674F5401-D59B-DF44-9ECE-C479E1202E9C}" type="datetimeFigureOut">
              <a:rPr lang="en-GB" smtClean="0"/>
              <a:pPr/>
              <a:t>17/12/2024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E42FC2AB-B90D-8049-869B-338E69C430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85235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Text DB / Logo 3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BE74902-F0A1-AA1B-4168-59FFD5C981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5695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BE74902-F0A1-AA1B-4168-59FFD5C981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 rtl="0">
              <a:defRPr sz="1200"/>
            </a:lvl1pPr>
          </a:lstStyle>
          <a:p>
            <a:r>
              <a:rPr lang="en-GB" noProof="0"/>
              <a:t>Insert image (33,67 x 19,05 cm) and place into backgrou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99736"/>
            <a:ext cx="7200000" cy="1440000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defRPr sz="3200" b="1">
                <a:latin typeface="+mn-lt"/>
              </a:defRPr>
            </a:lvl1pPr>
          </a:lstStyle>
          <a:p>
            <a:r>
              <a:rPr lang="en-GB" noProof="0"/>
              <a:t>Presentation title </a:t>
            </a:r>
            <a:br>
              <a:rPr lang="en-GB" noProof="0"/>
            </a:br>
            <a:r>
              <a:rPr lang="en-GB" noProof="0"/>
              <a:t>Calibri Bold 32pt can run </a:t>
            </a:r>
            <a:br>
              <a:rPr lang="en-GB" noProof="0"/>
            </a:br>
            <a:r>
              <a:rPr lang="en-GB" noProof="0"/>
              <a:t>over three line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2902384"/>
            <a:ext cx="7199999" cy="251999"/>
          </a:xfrm>
        </p:spPr>
        <p:txBody>
          <a:bodyPr/>
          <a:lstStyle>
            <a:lvl1pPr marL="0" indent="0" algn="l" rtl="0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D/MM/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1B05090-735A-3162-6A26-264BCF21FCF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5999" y="1011089"/>
            <a:ext cx="7200000" cy="251999"/>
          </a:xfrm>
        </p:spPr>
        <p:txBody>
          <a:bodyPr lIns="0" tIns="0" rIns="0" bIns="0" anchor="t" anchorCtr="0">
            <a:noAutofit/>
          </a:bodyPr>
          <a:lstStyle>
            <a:lvl1pPr marL="0" indent="0" rtl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Optional overhead Calibri 16 pt</a:t>
            </a:r>
          </a:p>
        </p:txBody>
      </p:sp>
    </p:spTree>
    <p:extLst>
      <p:ext uri="{BB962C8B-B14F-4D97-AF65-F5344CB8AC3E}">
        <p14:creationId xmlns:p14="http://schemas.microsoft.com/office/powerpoint/2010/main" val="24286646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Text 16pt / 2-colum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60BA371-915A-61DA-9009-6A7EDB62F8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052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60BA371-915A-61DA-9009-6A7EDB62F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949DE8-BBB9-783D-A816-195E23A1D8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1638000"/>
            <a:ext cx="5425844" cy="444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buClr>
                <a:schemeClr val="accent1"/>
              </a:buClr>
              <a:defRPr/>
            </a:lvl3pPr>
            <a:lvl4pPr rtl="0">
              <a:buClr>
                <a:schemeClr val="accent2"/>
              </a:buClr>
              <a:defRPr/>
            </a:lvl4pPr>
            <a:lvl5pPr rtl="0">
              <a:defRPr/>
            </a:lvl5pPr>
          </a:lstStyle>
          <a:p>
            <a:pPr lvl="0"/>
            <a:r>
              <a:rPr lang="en-GB" noProof="0"/>
              <a:t>First text level Calibri 16pt. Manually set text titles or text emphases in Calibri Bold. 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 </a:t>
            </a:r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908B4DAA-68E5-F0EC-C047-A57535C3C4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9896" y="1638000"/>
            <a:ext cx="5427430" cy="444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buClr>
                <a:schemeClr val="accent1"/>
              </a:buClr>
              <a:defRPr/>
            </a:lvl3pPr>
            <a:lvl4pPr rtl="0">
              <a:buClr>
                <a:schemeClr val="accent2"/>
              </a:buClr>
              <a:defRPr/>
            </a:lvl4pPr>
            <a:lvl5pPr rtl="0">
              <a:defRPr/>
            </a:lvl5pPr>
          </a:lstStyle>
          <a:p>
            <a:pPr lvl="0"/>
            <a:r>
              <a:rPr lang="en-GB" noProof="0"/>
              <a:t>First text level Calibri 16pt. Manually set text titles or text emphases in Calibri Bold. 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 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706BCA08-7685-03EC-1860-70B6A78C57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10" name="Datumsplatzhalter 7">
            <a:extLst>
              <a:ext uri="{FF2B5EF4-FFF2-40B4-BE49-F238E27FC236}">
                <a16:creationId xmlns:a16="http://schemas.microsoft.com/office/drawing/2014/main" id="{E30618AD-908F-0444-92E2-EECB0F2DB9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8672059-7A41-49FE-A962-B38C84F070FD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7F7F4A6B-9291-1F80-88BA-229E3F117F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2B60373-3A1C-0605-2948-752446D4A40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972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 userDrawn="1">
          <p15:clr>
            <a:srgbClr val="FBAE40"/>
          </p15:clr>
        </p15:guide>
        <p15:guide id="3" pos="378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Text 12pt / 3-colum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336C632-F3F1-379B-8993-B801BC34E6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906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336C632-F3F1-379B-8993-B801BC34E6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949DE8-BBB9-783D-A816-195E23A1D8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1656000"/>
            <a:ext cx="3556825" cy="4386274"/>
          </a:xfrm>
        </p:spPr>
        <p:txBody>
          <a:bodyPr/>
          <a:lstStyle>
            <a:lvl1pPr rtl="0">
              <a:lnSpc>
                <a:spcPct val="128000"/>
              </a:lnSpc>
              <a:defRPr sz="1200"/>
            </a:lvl1pPr>
            <a:lvl2pPr marL="144000" indent="-144000" rtl="0">
              <a:lnSpc>
                <a:spcPct val="128000"/>
              </a:lnSpc>
              <a:defRPr sz="1200"/>
            </a:lvl2pPr>
            <a:lvl3pPr marL="288000" indent="-144000" rtl="0">
              <a:lnSpc>
                <a:spcPct val="128000"/>
              </a:lnSpc>
              <a:buClr>
                <a:schemeClr val="accent1"/>
              </a:buClr>
              <a:defRPr sz="1200"/>
            </a:lvl3pPr>
            <a:lvl4pPr marL="432000" indent="-144000" rtl="0">
              <a:lnSpc>
                <a:spcPct val="128000"/>
              </a:lnSpc>
              <a:buClr>
                <a:schemeClr val="accent2"/>
              </a:buClr>
              <a:defRPr sz="1200"/>
            </a:lvl4pPr>
            <a:lvl5pPr marL="576000" indent="-144000" rtl="0">
              <a:lnSpc>
                <a:spcPct val="128000"/>
              </a:lnSpc>
              <a:defRPr sz="1200"/>
            </a:lvl5pPr>
          </a:lstStyle>
          <a:p>
            <a:pPr lvl="0"/>
            <a:r>
              <a:rPr lang="en-GB" noProof="0"/>
              <a:t>First text level Calibri 12pt. Manually set text titles or text emphases in Calibri Bold. 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</a:t>
            </a:r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908B4DAA-68E5-F0EC-C047-A57535C3C4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3088" y="1656000"/>
            <a:ext cx="3565826" cy="4386274"/>
          </a:xfrm>
        </p:spPr>
        <p:txBody>
          <a:bodyPr/>
          <a:lstStyle>
            <a:lvl1pPr rtl="0">
              <a:defRPr sz="1200"/>
            </a:lvl1pPr>
            <a:lvl2pPr marL="144000" indent="-144000" rtl="0">
              <a:defRPr sz="1200"/>
            </a:lvl2pPr>
            <a:lvl3pPr marL="288000" indent="-144000" rtl="0">
              <a:buClr>
                <a:schemeClr val="accent1"/>
              </a:buClr>
              <a:defRPr sz="1200"/>
            </a:lvl3pPr>
            <a:lvl4pPr marL="432000" indent="-144000" rtl="0">
              <a:buClr>
                <a:schemeClr val="accent2"/>
              </a:buClr>
              <a:defRPr sz="1200"/>
            </a:lvl4pPr>
            <a:lvl5pPr marL="576000" indent="-144000" rtl="0">
              <a:defRPr sz="1200"/>
            </a:lvl5pPr>
          </a:lstStyle>
          <a:p>
            <a:pPr lvl="0"/>
            <a:r>
              <a:rPr lang="en-GB" noProof="0"/>
              <a:t>First text level Calibri 12pt. Manually set text titles or text emphases in Calibri Bold. 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CDE693DE-ED8D-2EE9-53C2-371BE7A2AD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51499" y="1656000"/>
            <a:ext cx="3565826" cy="4386274"/>
          </a:xfrm>
        </p:spPr>
        <p:txBody>
          <a:bodyPr/>
          <a:lstStyle>
            <a:lvl1pPr rtl="0">
              <a:defRPr sz="1200"/>
            </a:lvl1pPr>
            <a:lvl2pPr marL="144000" indent="-144000" rtl="0">
              <a:defRPr sz="1200"/>
            </a:lvl2pPr>
            <a:lvl3pPr marL="288000" indent="-144000" rtl="0">
              <a:buClr>
                <a:schemeClr val="accent1"/>
              </a:buClr>
              <a:defRPr sz="1200"/>
            </a:lvl3pPr>
            <a:lvl4pPr marL="432000" indent="-144000" rtl="0">
              <a:buClr>
                <a:schemeClr val="accent2"/>
              </a:buClr>
              <a:defRPr sz="1200"/>
            </a:lvl4pPr>
            <a:lvl5pPr marL="576000" indent="-144000" rtl="0">
              <a:defRPr sz="1200"/>
            </a:lvl5pPr>
          </a:lstStyle>
          <a:p>
            <a:pPr lvl="0"/>
            <a:r>
              <a:rPr lang="en-GB" noProof="0"/>
              <a:t>First text level Calibri 12pt. Manually set text titles or text emphases in Calibri Bold. 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BC602FA7-2DF1-F2ED-D9E3-5483DDF811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10" name="Datumsplatzhalter 7">
            <a:extLst>
              <a:ext uri="{FF2B5EF4-FFF2-40B4-BE49-F238E27FC236}">
                <a16:creationId xmlns:a16="http://schemas.microsoft.com/office/drawing/2014/main" id="{661B20CA-FD2B-B25D-324C-BB0D8D37E7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1DB2B36-DCF3-4B56-9C59-323D417EDC91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38285C37-877F-FB7C-08BF-91087B023C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5" name="Grafik 3">
            <a:extLst>
              <a:ext uri="{FF2B5EF4-FFF2-40B4-BE49-F238E27FC236}">
                <a16:creationId xmlns:a16="http://schemas.microsoft.com/office/drawing/2014/main" id="{3B96434C-B410-83A7-1962-9482C6DB277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031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16" userDrawn="1">
          <p15:clr>
            <a:srgbClr val="FBAE40"/>
          </p15:clr>
        </p15:guide>
        <p15:guide id="3" pos="2604" userDrawn="1">
          <p15:clr>
            <a:srgbClr val="FBAE40"/>
          </p15:clr>
        </p15:guide>
        <p15:guide id="4" pos="4958" userDrawn="1">
          <p15:clr>
            <a:srgbClr val="FBAE40"/>
          </p15:clr>
        </p15:guide>
        <p15:guide id="5" pos="507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EC97543E-F217-0A8C-5FAA-0865554787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858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EC97543E-F217-0A8C-5FAA-086555478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6C5B5BD-04AA-9DA6-13AD-E31BBB4DC9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6000" y="1727199"/>
            <a:ext cx="11040000" cy="4267201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noProof="0"/>
              <a:t>Place content like tables, diagrams etc.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54D7AD2-E4A3-CCB1-ACE1-9044C0FD7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umsplatzhalter 7">
            <a:extLst>
              <a:ext uri="{FF2B5EF4-FFF2-40B4-BE49-F238E27FC236}">
                <a16:creationId xmlns:a16="http://schemas.microsoft.com/office/drawing/2014/main" id="{E6D92709-8FE7-C8DF-2EC1-8E4A48BD28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D27233D-9D0F-40AD-AACB-CB09842217E3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1C8A9F65-2985-DD56-DA67-8C6E9F5AEEF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9" name="Grafik 3">
            <a:extLst>
              <a:ext uri="{FF2B5EF4-FFF2-40B4-BE49-F238E27FC236}">
                <a16:creationId xmlns:a16="http://schemas.microsoft.com/office/drawing/2014/main" id="{7FDA064B-AAC0-895D-58DE-EBA33DA146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3637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66F70B55-8ED6-41C7-C5D3-48869BC77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8179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66F70B55-8ED6-41C7-C5D3-48869BC77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E1942E1-0ED9-9870-6515-E4258066D6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6000" y="1727199"/>
            <a:ext cx="5427925" cy="4267201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noProof="0"/>
              <a:t>Place content like tables, diagrams etc. 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350271A-2ACE-18B3-F078-E85418669D6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89400" y="1727199"/>
            <a:ext cx="5427925" cy="4267201"/>
          </a:xfr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GB" noProof="0"/>
              <a:t>Place content like tables, diagrams etc. </a:t>
            </a:r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6D033B4A-44C8-12DD-245F-73916785C8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9" name="Datumsplatzhalter 7">
            <a:extLst>
              <a:ext uri="{FF2B5EF4-FFF2-40B4-BE49-F238E27FC236}">
                <a16:creationId xmlns:a16="http://schemas.microsoft.com/office/drawing/2014/main" id="{AD582A6A-B6ED-950D-8D94-ABDCB73C9B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41E0D11-52B9-4E81-9C34-B9A93D10445A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FDFADF90-464C-0E98-5C10-94AA9AA8C3A4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7" name="Grafik 3">
            <a:extLst>
              <a:ext uri="{FF2B5EF4-FFF2-40B4-BE49-F238E27FC236}">
                <a16:creationId xmlns:a16="http://schemas.microsoft.com/office/drawing/2014/main" id="{0E4BFD0B-9DD4-F869-5A59-BD3C575669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471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 userDrawn="1">
          <p15:clr>
            <a:srgbClr val="FBAE40"/>
          </p15:clr>
        </p15:guide>
        <p15:guide id="3" pos="378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1CF1F4D-878F-A707-65B5-9D64EE771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939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1CF1F4D-878F-A707-65B5-9D64EE771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9E4B5292-261B-57C4-33FF-1C70AB9F5F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1638000"/>
            <a:ext cx="5425844" cy="444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buClr>
                <a:schemeClr val="accent1"/>
              </a:buClr>
              <a:defRPr/>
            </a:lvl3pPr>
            <a:lvl4pPr rtl="0">
              <a:buClr>
                <a:schemeClr val="accent2"/>
              </a:buClr>
              <a:defRPr/>
            </a:lvl4pPr>
            <a:lvl5pPr rtl="0">
              <a:defRPr/>
            </a:lvl5pPr>
          </a:lstStyle>
          <a:p>
            <a:pPr lvl="0"/>
            <a:r>
              <a:rPr lang="en-GB" noProof="0"/>
              <a:t>First text level Calibri 16pt. Manually set text titles or text emphases in Calibri Bold. 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AF0C938-8439-193D-266A-D9FE5C679E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1725" y="1727200"/>
            <a:ext cx="5435600" cy="4267200"/>
          </a:xfrm>
          <a:solidFill>
            <a:schemeClr val="bg2"/>
          </a:solidFill>
        </p:spPr>
        <p:txBody>
          <a:bodyPr lIns="36000" tIns="0"/>
          <a:lstStyle>
            <a:lvl1pPr rtl="0">
              <a:defRPr sz="1200"/>
            </a:lvl1pPr>
          </a:lstStyle>
          <a:p>
            <a:r>
              <a:rPr lang="en-GB" noProof="0"/>
              <a:t>Insert image (15,1 x 11,85 cm)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0BEDCD26-B09F-B8B7-DEAF-D91F8753A7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D19284F-15F4-AFEF-AE41-481DDF77DA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C54C8F7-694A-4993-AD05-3115CF61B155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791D511-1A1B-D96D-7C8A-1096E7BF1C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7" name="Grafik 3">
            <a:extLst>
              <a:ext uri="{FF2B5EF4-FFF2-40B4-BE49-F238E27FC236}">
                <a16:creationId xmlns:a16="http://schemas.microsoft.com/office/drawing/2014/main" id="{1D029036-B331-C14E-A8CC-CC20764F19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654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 userDrawn="1">
          <p15:clr>
            <a:srgbClr val="FBAE40"/>
          </p15:clr>
        </p15:guide>
        <p15:guide id="3" pos="378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A7A7EE7E-8AA1-C91D-29B1-9963CB9017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56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A7A7EE7E-8AA1-C91D-29B1-9963CB9017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9E4B5292-261B-57C4-33FF-1C70AB9F5F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1481" y="1638000"/>
            <a:ext cx="5425844" cy="4446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buClr>
                <a:schemeClr val="accent1"/>
              </a:buClr>
              <a:defRPr/>
            </a:lvl3pPr>
            <a:lvl4pPr rtl="0">
              <a:buClr>
                <a:schemeClr val="accent2"/>
              </a:buClr>
              <a:defRPr/>
            </a:lvl4pPr>
            <a:lvl5pPr rtl="0">
              <a:defRPr/>
            </a:lvl5pPr>
          </a:lstStyle>
          <a:p>
            <a:pPr lvl="0"/>
            <a:r>
              <a:rPr lang="en-GB" noProof="0"/>
              <a:t>First text level Calibri 16pt. Manually set text titles or text emphases in Calibri Bold. 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AF0C938-8439-193D-266A-D9FE5C679E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675" y="1727200"/>
            <a:ext cx="5435600" cy="4267200"/>
          </a:xfrm>
          <a:solidFill>
            <a:schemeClr val="bg2"/>
          </a:solidFill>
        </p:spPr>
        <p:txBody>
          <a:bodyPr lIns="36000" tIns="0"/>
          <a:lstStyle>
            <a:lvl1pPr rtl="0">
              <a:defRPr sz="1200"/>
            </a:lvl1pPr>
          </a:lstStyle>
          <a:p>
            <a:r>
              <a:rPr lang="en-GB" noProof="0"/>
              <a:t>Insert image (15,1 x 11,85 cm)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F2DA7F72-7EE5-6D7C-5895-E85440046F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85BD6A3-953E-77A6-E2C9-67113D0403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163C63E-3A0E-45DD-A648-BFD8816AA974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D3A18DEF-5463-7489-46F2-7DFCEBB761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7" name="Grafik 3">
            <a:extLst>
              <a:ext uri="{FF2B5EF4-FFF2-40B4-BE49-F238E27FC236}">
                <a16:creationId xmlns:a16="http://schemas.microsoft.com/office/drawing/2014/main" id="{B86BA0B4-1904-7E83-3579-D6CAC3329E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866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 userDrawn="1">
          <p15:clr>
            <a:srgbClr val="FBAE40"/>
          </p15:clr>
        </p15:guide>
        <p15:guide id="3" pos="378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659ED49-BA17-CA8F-1EC4-E85B0F019A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11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659ED49-BA17-CA8F-1EC4-E85B0F019A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697C344-DB78-E644-C16A-81A8C97AD4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93943B-4BDC-30A7-4BA0-7405A5710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D0F5D726-6B86-691E-F2C4-2F0EB3BF1F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 rtl="0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7" name="Datumsplatzhalter 7">
            <a:extLst>
              <a:ext uri="{FF2B5EF4-FFF2-40B4-BE49-F238E27FC236}">
                <a16:creationId xmlns:a16="http://schemas.microsoft.com/office/drawing/2014/main" id="{0ED8AA8D-61AA-5AC4-942A-60DF6A0EA5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192F9D53-5276-450C-8C68-B7C5724DB32A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49AEF2C4-BEA1-7FD2-364B-791BE45E7B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556B4E9-0720-D89A-CF20-7A349FAEF7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2997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Text single-column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8EEC3E9-14F3-2A71-69F2-8179A4B550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13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8EEC3E9-14F3-2A71-69F2-8179A4B55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949DE8-BBB9-783D-A816-195E23A1D8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1638000"/>
            <a:ext cx="11041062" cy="4446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First text level Calibri 16pt. Manually set text titles or text emphases in Calibri Bold.</a:t>
            </a:r>
            <a:br>
              <a:rPr lang="en-GB" noProof="0"/>
            </a:br>
            <a:r>
              <a:rPr lang="en-GB" noProof="0"/>
              <a:t>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 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07D7E59-4EEA-7691-654F-B72C10CF2A0A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B563A0F9-A0E4-9680-CC4C-B19ED307A4DA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3537408C-A96E-535E-9369-63C69AEAAF57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09C251E0-7DAC-F919-EA57-7C4A64C76641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</p:grp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21FAEC84-951F-5C30-3779-214D45DAFE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22" name="Datumsplatzhalter 7">
            <a:extLst>
              <a:ext uri="{FF2B5EF4-FFF2-40B4-BE49-F238E27FC236}">
                <a16:creationId xmlns:a16="http://schemas.microsoft.com/office/drawing/2014/main" id="{43549AB2-EEF7-5AD6-9A90-FF9249DB49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1DF442-2089-4C1B-BBD1-AB385FEBBB7A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B5940F9A-9430-685C-F44D-68B5FE74321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4" name="Grafik 1">
            <a:extLst>
              <a:ext uri="{FF2B5EF4-FFF2-40B4-BE49-F238E27FC236}">
                <a16:creationId xmlns:a16="http://schemas.microsoft.com/office/drawing/2014/main" id="{72EDD917-B82C-C675-2FF2-74EC8FF227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0101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Text 16pt / 2-columned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51C459C-2FD9-E129-0F66-4AE4B127E4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618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51C459C-2FD9-E129-0F66-4AE4B127E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6D30C43-0EDB-4E85-C1F4-B395B8518058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193CB15E-29D0-29D9-9DA1-B66F4DE3D71C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12EECF1C-F2E5-BB94-02CC-D19510E9749C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7296A66E-B4E7-263D-9004-6F9E9593115C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</p:grp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2733F103-51D0-DA04-B255-3EDE8ADDE4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algn="ctr"/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23" name="Datumsplatzhalter 7">
            <a:extLst>
              <a:ext uri="{FF2B5EF4-FFF2-40B4-BE49-F238E27FC236}">
                <a16:creationId xmlns:a16="http://schemas.microsoft.com/office/drawing/2014/main" id="{E50D8CF4-649F-7583-37BD-8EECB14ACC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BF36C37-7976-475B-A412-F3871251C3E5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218E87AF-4868-37D6-B99A-08333D47B1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84A1EC5-716F-0A92-3E50-4D9895567D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638000"/>
            <a:ext cx="5425844" cy="4446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First text level Calibri 16pt. Manually set text titles or text emphases in Calibri Bold. 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F69DD353-49BD-3DA0-489D-8C2B2AB32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2001" y="1638000"/>
            <a:ext cx="5425844" cy="4446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First text level Calibri 16pt. Manually set text titles or text emphases in Calibri Bold. 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 </a:t>
            </a:r>
          </a:p>
        </p:txBody>
      </p:sp>
      <p:pic>
        <p:nvPicPr>
          <p:cNvPr id="3" name="Grafik 1">
            <a:extLst>
              <a:ext uri="{FF2B5EF4-FFF2-40B4-BE49-F238E27FC236}">
                <a16:creationId xmlns:a16="http://schemas.microsoft.com/office/drawing/2014/main" id="{7D7A75D5-A162-9DF4-CECA-571A9F40F9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470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 userDrawn="1">
          <p15:clr>
            <a:srgbClr val="FBAE40"/>
          </p15:clr>
        </p15:guide>
        <p15:guide id="3" pos="378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306BF6F-EA82-3516-439F-955FF3C422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320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306BF6F-EA82-3516-439F-955FF3C42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 b="1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6C5B5BD-04AA-9DA6-13AD-E31BBB4DC9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6000" y="1727199"/>
            <a:ext cx="11040000" cy="426720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Place content like tables, diagrams etc.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2B61A64-1D48-756E-739F-212CA2FC4779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794C8CA9-B33E-8C51-7AD5-16E09B07D103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98A8004-5FFA-F090-3020-22AE570874A5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CCFD2826-20B0-3D0C-4FC4-A57B3B1187BA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</p:grpSp>
      <p:sp>
        <p:nvSpPr>
          <p:cNvPr id="20" name="Fußzeilenplatzhalter 4">
            <a:extLst>
              <a:ext uri="{FF2B5EF4-FFF2-40B4-BE49-F238E27FC236}">
                <a16:creationId xmlns:a16="http://schemas.microsoft.com/office/drawing/2014/main" id="{02EA6447-070C-6317-5E75-D670B99EA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22" name="Datumsplatzhalter 7">
            <a:extLst>
              <a:ext uri="{FF2B5EF4-FFF2-40B4-BE49-F238E27FC236}">
                <a16:creationId xmlns:a16="http://schemas.microsoft.com/office/drawing/2014/main" id="{11E7A79F-4CBF-4F12-8423-480A4B8540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2A66810-2215-4BFF-9A00-02B8C500F867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86FD8D59-18A6-1931-8C0B-64D3EFE6E65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10" name="Grafik 1">
            <a:extLst>
              <a:ext uri="{FF2B5EF4-FFF2-40B4-BE49-F238E27FC236}">
                <a16:creationId xmlns:a16="http://schemas.microsoft.com/office/drawing/2014/main" id="{7203CC05-6E3F-26C7-A302-8B390C348E1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088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Text DB / Logo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5599624-2CD4-E8B6-49E5-7377BB6D2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82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5599624-2CD4-E8B6-49E5-7377BB6D2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 rtl="0">
              <a:defRPr sz="1200"/>
            </a:lvl1pPr>
          </a:lstStyle>
          <a:p>
            <a:r>
              <a:rPr lang="en-GB" noProof="0"/>
              <a:t>Insert image (33,67 x 19,05 cm) and place into backgrou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99736"/>
            <a:ext cx="7200000" cy="1440000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defRPr sz="3200" b="1">
                <a:latin typeface="+mn-lt"/>
              </a:defRPr>
            </a:lvl1pPr>
          </a:lstStyle>
          <a:p>
            <a:r>
              <a:rPr lang="en-GB" noProof="0"/>
              <a:t>Presentation title </a:t>
            </a:r>
            <a:br>
              <a:rPr lang="en-GB" noProof="0"/>
            </a:br>
            <a:r>
              <a:rPr lang="en-GB" noProof="0"/>
              <a:t>Calibri Bold 32pt can run </a:t>
            </a:r>
            <a:br>
              <a:rPr lang="en-GB" noProof="0"/>
            </a:br>
            <a:r>
              <a:rPr lang="en-GB" noProof="0"/>
              <a:t>over three line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2902384"/>
            <a:ext cx="7199999" cy="251999"/>
          </a:xfrm>
        </p:spPr>
        <p:txBody>
          <a:bodyPr/>
          <a:lstStyle>
            <a:lvl1pPr marL="0" indent="0" algn="l" rtl="0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D/MM/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1B05090-735A-3162-6A26-264BCF21FCF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5999" y="1011089"/>
            <a:ext cx="7200000" cy="251999"/>
          </a:xfrm>
        </p:spPr>
        <p:txBody>
          <a:bodyPr lIns="0" tIns="0" rIns="0" bIns="0" anchor="t" anchorCtr="0">
            <a:noAutofit/>
          </a:bodyPr>
          <a:lstStyle>
            <a:lvl1pPr marL="0" indent="0" rtl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Optional overhead Calibri 16 pt</a:t>
            </a:r>
          </a:p>
        </p:txBody>
      </p:sp>
    </p:spTree>
    <p:extLst>
      <p:ext uri="{BB962C8B-B14F-4D97-AF65-F5344CB8AC3E}">
        <p14:creationId xmlns:p14="http://schemas.microsoft.com/office/powerpoint/2010/main" val="40866561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2 contents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835294C-6192-06E1-4CE7-298F3E0E6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7050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835294C-6192-06E1-4CE7-298F3E0E6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E1942E1-0ED9-9870-6515-E4258066D6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6000" y="1727199"/>
            <a:ext cx="5427925" cy="426720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Place content like tables, diagrams etc. 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350271A-2ACE-18B3-F078-E85418669D6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89400" y="1727199"/>
            <a:ext cx="5427925" cy="4267201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Place content like tables, diagrams etc. 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45329F1-3B23-FF1F-D1FA-7677F9902DFD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95220D4-11BF-E183-61EF-7A46EA1EB10D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0BE7B55-E06E-1DDE-9CD1-FC3807D68C43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F4378A5-7DA5-B6C1-BB8E-280200692A7F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</p:grp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ABFDC9C5-8EAB-DDF0-86A9-3D479BE287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algn="ctr"/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23" name="Datumsplatzhalter 7">
            <a:extLst>
              <a:ext uri="{FF2B5EF4-FFF2-40B4-BE49-F238E27FC236}">
                <a16:creationId xmlns:a16="http://schemas.microsoft.com/office/drawing/2014/main" id="{FA4BF417-2E2A-AAB5-0A58-7D0F2438D7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5FEB3E1-13FB-4BED-8981-2956D25439ED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66296BD5-608C-D961-B6C4-656DE9484941}"/>
              </a:ext>
            </a:extLst>
          </p:cNvPr>
          <p:cNvSpPr>
            <a:spLocks noGrp="1"/>
          </p:cNvSpPr>
          <p:nvPr>
            <p:ph type="subTitle" idx="14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11" name="Grafik 1">
            <a:extLst>
              <a:ext uri="{FF2B5EF4-FFF2-40B4-BE49-F238E27FC236}">
                <a16:creationId xmlns:a16="http://schemas.microsoft.com/office/drawing/2014/main" id="{0A5531F3-8F64-A5A6-B4D1-99AB6ECFA9C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908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 userDrawn="1">
          <p15:clr>
            <a:srgbClr val="FBAE40"/>
          </p15:clr>
        </p15:guide>
        <p15:guide id="3" pos="378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Text + image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C186F78F-D65B-CA5D-AA69-47D5D8382F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9523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C186F78F-D65B-CA5D-AA69-47D5D8382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45329F1-3B23-FF1F-D1FA-7677F9902DFD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95220D4-11BF-E183-61EF-7A46EA1EB10D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0BE7B55-E06E-1DDE-9CD1-FC3807D68C43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F4378A5-7DA5-B6C1-BB8E-280200692A7F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</p:grp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3AA59C80-0C5D-48CA-2EB2-36A16B389A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81725" y="1727200"/>
            <a:ext cx="5435600" cy="4267200"/>
          </a:xfrm>
          <a:solidFill>
            <a:schemeClr val="bg2"/>
          </a:solidFill>
        </p:spPr>
        <p:txBody>
          <a:bodyPr lIns="36000" tIns="0"/>
          <a:lstStyle>
            <a:lvl1pPr rtl="0">
              <a:defRPr sz="1200"/>
            </a:lvl1pPr>
          </a:lstStyle>
          <a:p>
            <a:r>
              <a:rPr lang="en-GB" noProof="0"/>
              <a:t>Insert image (15,1 x 11,85 cm)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C8CC0DE5-7B0B-258A-9B21-CD8FBE68C6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23" name="Datumsplatzhalter 7">
            <a:extLst>
              <a:ext uri="{FF2B5EF4-FFF2-40B4-BE49-F238E27FC236}">
                <a16:creationId xmlns:a16="http://schemas.microsoft.com/office/drawing/2014/main" id="{00E1B95D-7189-EC9C-3EA6-33909094E4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240A2A2-8533-4A80-97B7-EF794F5E7A00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FF816FCC-A81A-81C3-D8F7-AED3AE097C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5DF69704-C32C-B11F-5670-12F0779E616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432" y="1637800"/>
            <a:ext cx="5425844" cy="4446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First text level Calibri 16pt. Manually set text titles or text emphases in Calibri Bold. 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 </a:t>
            </a:r>
          </a:p>
        </p:txBody>
      </p:sp>
      <p:pic>
        <p:nvPicPr>
          <p:cNvPr id="8" name="Grafik 1">
            <a:extLst>
              <a:ext uri="{FF2B5EF4-FFF2-40B4-BE49-F238E27FC236}">
                <a16:creationId xmlns:a16="http://schemas.microsoft.com/office/drawing/2014/main" id="{BB04B217-D0F5-936A-BAD7-CFFDD9318D4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607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 userDrawn="1">
          <p15:clr>
            <a:srgbClr val="FBAE40"/>
          </p15:clr>
        </p15:guide>
        <p15:guide id="3" pos="378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 Image + text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206E356-E577-49C2-4555-34F46A0B04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62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206E356-E577-49C2-4555-34F46A0B0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45329F1-3B23-FF1F-D1FA-7677F9902DFD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95220D4-11BF-E183-61EF-7A46EA1EB10D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0BE7B55-E06E-1DDE-9CD1-FC3807D68C43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F4378A5-7DA5-B6C1-BB8E-280200692A7F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</p:grp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3AA59C80-0C5D-48CA-2EB2-36A16B389A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4675" y="1727200"/>
            <a:ext cx="5435600" cy="4267200"/>
          </a:xfrm>
          <a:solidFill>
            <a:schemeClr val="bg2"/>
          </a:solidFill>
        </p:spPr>
        <p:txBody>
          <a:bodyPr lIns="36000" tIns="0"/>
          <a:lstStyle>
            <a:lvl1pPr rtl="0">
              <a:defRPr sz="1200"/>
            </a:lvl1pPr>
          </a:lstStyle>
          <a:p>
            <a:r>
              <a:rPr lang="en-GB" noProof="0"/>
              <a:t>Insert image (15,1 x 11,85 cm)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BEC8B8FD-915E-0A63-39BB-B49974705F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23" name="Datumsplatzhalter 7">
            <a:extLst>
              <a:ext uri="{FF2B5EF4-FFF2-40B4-BE49-F238E27FC236}">
                <a16:creationId xmlns:a16="http://schemas.microsoft.com/office/drawing/2014/main" id="{99586746-F242-1B70-AED3-19A971058F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72CC080-0818-4198-B0DC-B1B5C7A795F1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6B097BB7-4504-1195-DBD5-086C806A00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AEDAB478-7CA2-E7EE-DFD4-743B173800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2001" y="1638000"/>
            <a:ext cx="5425844" cy="4446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First text level Calibri 16pt. Manually set text titles or text emphases in Calibri Bold. 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 </a:t>
            </a:r>
          </a:p>
        </p:txBody>
      </p:sp>
      <p:pic>
        <p:nvPicPr>
          <p:cNvPr id="8" name="Grafik 1">
            <a:extLst>
              <a:ext uri="{FF2B5EF4-FFF2-40B4-BE49-F238E27FC236}">
                <a16:creationId xmlns:a16="http://schemas.microsoft.com/office/drawing/2014/main" id="{39B49B33-D125-5E8B-F2FD-AEBADA2EE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423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94" userDrawn="1">
          <p15:clr>
            <a:srgbClr val="FBAE40"/>
          </p15:clr>
        </p15:guide>
        <p15:guide id="3" pos="378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/ D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6984149-9B8B-4FE0-8C01-E8E373E007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245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6984149-9B8B-4FE0-8C01-E8E373E007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93943B-4BDC-30A7-4BA0-7405A5710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6837BC49-E108-1BC3-CE2B-7A73E25582A0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AB5631D-C84A-A2AB-0164-F219E98E3437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976BB5F-33E9-7E0D-53F9-BF3ABA959C5E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93855B26-7DFA-033D-7E3F-4845A366AB90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</p:grp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92B21B50-5476-E038-9FDD-6F5E1FF661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7" name="Datumsplatzhalter 7">
            <a:extLst>
              <a:ext uri="{FF2B5EF4-FFF2-40B4-BE49-F238E27FC236}">
                <a16:creationId xmlns:a16="http://schemas.microsoft.com/office/drawing/2014/main" id="{ED89DFF1-0847-77A7-3F41-3E6BA36FE3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91A43F6-F8F6-468F-A345-5A02009590F5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45F05085-DFC8-7452-2160-5047B7F7719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70481C6E-B9F7-DD33-BB85-88546961AC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6B04EC6-A599-FA7E-FB89-17744F4675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711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+ image / Text DB / Logo 3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C80CE79-04DE-62BD-DE2D-551DB60F1D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683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C80CE79-04DE-62BD-DE2D-551DB60F1D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 rtl="0">
              <a:defRPr sz="1200"/>
            </a:lvl1pPr>
          </a:lstStyle>
          <a:p>
            <a:r>
              <a:rPr lang="en-GB" noProof="0"/>
              <a:t>Insert image (33,67 x 19,05 cm) and place into background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68978"/>
            <a:ext cx="8202240" cy="514800"/>
          </a:xfrm>
        </p:spPr>
        <p:txBody>
          <a:bodyPr vert="horz" anchor="b" anchorCtr="0"/>
          <a:lstStyle>
            <a:lvl1pPr algn="l" rtl="0">
              <a:lnSpc>
                <a:spcPct val="100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Let‘s go together </a:t>
            </a:r>
            <a:br>
              <a:rPr lang="en-GB" noProof="0"/>
            </a:br>
            <a:r>
              <a:rPr lang="en-GB" noProof="0"/>
              <a:t>one energy ahead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1865565"/>
            <a:ext cx="8202240" cy="514800"/>
          </a:xfrm>
        </p:spPr>
        <p:txBody>
          <a:bodyPr/>
          <a:lstStyle>
            <a:lvl1pPr marL="0" indent="0" algn="l" rtl="0">
              <a:lnSpc>
                <a:spcPct val="125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ENERTRAG | Gut </a:t>
            </a:r>
            <a:r>
              <a:rPr lang="en-GB" noProof="0" err="1"/>
              <a:t>Dauerthal</a:t>
            </a:r>
            <a:r>
              <a:rPr lang="en-GB" noProof="0"/>
              <a:t> | DE-17291 </a:t>
            </a:r>
            <a:r>
              <a:rPr lang="en-GB" noProof="0" err="1"/>
              <a:t>Dauerthal</a:t>
            </a:r>
            <a:r>
              <a:rPr lang="en-GB" noProof="0"/>
              <a:t> | Germany</a:t>
            </a:r>
            <a:br>
              <a:rPr lang="en-GB" noProof="0"/>
            </a:br>
            <a:r>
              <a:rPr lang="en-GB" noProof="0"/>
              <a:t>+49 39854 6459-0 | enertrag@enertrag.com | enertrag.com</a:t>
            </a:r>
          </a:p>
        </p:txBody>
      </p:sp>
    </p:spTree>
    <p:extLst>
      <p:ext uri="{BB962C8B-B14F-4D97-AF65-F5344CB8AC3E}">
        <p14:creationId xmlns:p14="http://schemas.microsoft.com/office/powerpoint/2010/main" val="32510558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+ image / DB / Logo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7C8A6A-81F7-CBE7-1B49-EF07554E0F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016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7C8A6A-81F7-CBE7-1B49-EF07554E0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 rtl="0">
              <a:defRPr sz="1200"/>
            </a:lvl1pPr>
          </a:lstStyle>
          <a:p>
            <a:r>
              <a:rPr lang="en-GB" noProof="0"/>
              <a:t>Insert image (33,67 x 19,05 cm) and place into background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68978"/>
            <a:ext cx="8202240" cy="514800"/>
          </a:xfrm>
        </p:spPr>
        <p:txBody>
          <a:bodyPr vert="horz" anchor="b" anchorCtr="0"/>
          <a:lstStyle>
            <a:lvl1pPr algn="l" rtl="0">
              <a:lnSpc>
                <a:spcPct val="100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Let‘s go together </a:t>
            </a:r>
            <a:br>
              <a:rPr lang="en-GB" noProof="0"/>
            </a:br>
            <a:r>
              <a:rPr lang="en-GB" noProof="0"/>
              <a:t>one energy ahead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1865565"/>
            <a:ext cx="8202240" cy="514800"/>
          </a:xfrm>
        </p:spPr>
        <p:txBody>
          <a:bodyPr/>
          <a:lstStyle>
            <a:lvl1pPr marL="0" indent="0" algn="l" rtl="0">
              <a:lnSpc>
                <a:spcPct val="1250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ENERTRAG | Gut </a:t>
            </a:r>
            <a:r>
              <a:rPr lang="en-GB" noProof="0" err="1"/>
              <a:t>Dauerthal</a:t>
            </a:r>
            <a:r>
              <a:rPr lang="en-GB" noProof="0"/>
              <a:t> | DE-17291 </a:t>
            </a:r>
            <a:r>
              <a:rPr lang="en-GB" noProof="0" err="1"/>
              <a:t>Dauerthal</a:t>
            </a:r>
            <a:r>
              <a:rPr lang="en-GB" noProof="0"/>
              <a:t> | Germany</a:t>
            </a:r>
            <a:br>
              <a:rPr lang="en-GB" noProof="0"/>
            </a:br>
            <a:r>
              <a:rPr lang="en-GB" noProof="0"/>
              <a:t>+49 39854 6459-0 | enertrag@enertrag.com | enertrag.com</a:t>
            </a:r>
          </a:p>
        </p:txBody>
      </p:sp>
    </p:spTree>
    <p:extLst>
      <p:ext uri="{BB962C8B-B14F-4D97-AF65-F5344CB8AC3E}">
        <p14:creationId xmlns:p14="http://schemas.microsoft.com/office/powerpoint/2010/main" val="507355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Text W / Logo 3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1C9A182-EBD0-FDAC-DBD1-E24BF4C66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25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1C9A182-EBD0-FDAC-DBD1-E24BF4C66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 rtl="0">
              <a:defRPr sz="1200"/>
            </a:lvl1pPr>
          </a:lstStyle>
          <a:p>
            <a:r>
              <a:rPr lang="en-GB" noProof="0"/>
              <a:t>Insert image (33,67 x 19,05 cm) and place into backgrou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99736"/>
            <a:ext cx="7200000" cy="1440000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defRPr sz="32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Presentation title </a:t>
            </a:r>
            <a:br>
              <a:rPr lang="en-GB" noProof="0"/>
            </a:br>
            <a:r>
              <a:rPr lang="en-GB" noProof="0"/>
              <a:t>Calibri Bold 32pt can run </a:t>
            </a:r>
            <a:br>
              <a:rPr lang="en-GB" noProof="0"/>
            </a:br>
            <a:r>
              <a:rPr lang="en-GB" noProof="0"/>
              <a:t>over three line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2902384"/>
            <a:ext cx="7199999" cy="251999"/>
          </a:xfrm>
        </p:spPr>
        <p:txBody>
          <a:bodyPr/>
          <a:lstStyle>
            <a:lvl1pPr marL="0" indent="0" algn="l" rtl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D/MM/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1B05090-735A-3162-6A26-264BCF21FCF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5999" y="1011089"/>
            <a:ext cx="7200000" cy="251999"/>
          </a:xfrm>
        </p:spPr>
        <p:txBody>
          <a:bodyPr lIns="0" tIns="0" rIns="0" bIns="0" anchor="t" anchorCtr="0">
            <a:noAutofit/>
          </a:bodyPr>
          <a:lstStyle>
            <a:lvl1pPr marL="0" indent="0" rtl="0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Optional overhead Calibri 16 pt</a:t>
            </a:r>
          </a:p>
        </p:txBody>
      </p:sp>
    </p:spTree>
    <p:extLst>
      <p:ext uri="{BB962C8B-B14F-4D97-AF65-F5344CB8AC3E}">
        <p14:creationId xmlns:p14="http://schemas.microsoft.com/office/powerpoint/2010/main" val="36984897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Text W / Logo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BF8E67A-8564-DF65-139C-0FF7698CCD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6176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BF8E67A-8564-DF65-139C-0FF7698CCD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 rtl="0">
              <a:defRPr sz="1200"/>
            </a:lvl1pPr>
          </a:lstStyle>
          <a:p>
            <a:r>
              <a:rPr lang="en-GB" noProof="0"/>
              <a:t>Insert image (33,67 x 19,05 cm) and place into backgrou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5999" y="1299736"/>
            <a:ext cx="7200000" cy="1440000"/>
          </a:xfrm>
        </p:spPr>
        <p:txBody>
          <a:bodyPr vert="horz" anchor="t" anchorCtr="0"/>
          <a:lstStyle>
            <a:lvl1pPr algn="l" rtl="0">
              <a:lnSpc>
                <a:spcPct val="100000"/>
              </a:lnSpc>
              <a:defRPr sz="32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Presentation title </a:t>
            </a:r>
            <a:br>
              <a:rPr lang="en-GB" noProof="0"/>
            </a:br>
            <a:r>
              <a:rPr lang="en-GB" noProof="0"/>
              <a:t>Calibri Bold 32pt can run </a:t>
            </a:r>
            <a:br>
              <a:rPr lang="en-GB" noProof="0"/>
            </a:br>
            <a:r>
              <a:rPr lang="en-GB" noProof="0"/>
              <a:t>over three line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2902384"/>
            <a:ext cx="7199999" cy="251999"/>
          </a:xfrm>
        </p:spPr>
        <p:txBody>
          <a:bodyPr/>
          <a:lstStyle>
            <a:lvl1pPr marL="0" indent="0" algn="l" rtl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D/MM/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1B05090-735A-3162-6A26-264BCF21FCF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75999" y="1011089"/>
            <a:ext cx="7200000" cy="251999"/>
          </a:xfrm>
        </p:spPr>
        <p:txBody>
          <a:bodyPr lIns="0" tIns="0" rIns="0" bIns="0" anchor="t" anchorCtr="0">
            <a:noAutofit/>
          </a:bodyPr>
          <a:lstStyle>
            <a:lvl1pPr marL="0" indent="0" rtl="0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Optional overhead Calibri 16 pt</a:t>
            </a:r>
          </a:p>
        </p:txBody>
      </p:sp>
    </p:spTree>
    <p:extLst>
      <p:ext uri="{BB962C8B-B14F-4D97-AF65-F5344CB8AC3E}">
        <p14:creationId xmlns:p14="http://schemas.microsoft.com/office/powerpoint/2010/main" val="1476206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Text frame / Logo 3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64E31DC-B65C-6C1A-E632-7994D2C012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666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64E31DC-B65C-6C1A-E632-7994D2C01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 rtl="0">
              <a:defRPr sz="1200"/>
            </a:lvl1pPr>
          </a:lstStyle>
          <a:p>
            <a:r>
              <a:rPr lang="en-GB" noProof="0"/>
              <a:t>Insert image (33,67 x 19,05 cm) and place into backgrou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9035" y="689400"/>
            <a:ext cx="5940000" cy="2739600"/>
          </a:xfrm>
          <a:solidFill>
            <a:schemeClr val="bg1"/>
          </a:solidFill>
        </p:spPr>
        <p:txBody>
          <a:bodyPr vert="horz" lIns="503998" tIns="612000" anchor="t" anchorCtr="0"/>
          <a:lstStyle>
            <a:lvl1pPr algn="l" rtl="0">
              <a:lnSpc>
                <a:spcPct val="100000"/>
              </a:lnSpc>
              <a:defRPr sz="32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noProof="0"/>
              <a:t>Presentation title </a:t>
            </a:r>
            <a:br>
              <a:rPr lang="en-GB" noProof="0"/>
            </a:br>
            <a:r>
              <a:rPr lang="en-GB" noProof="0"/>
              <a:t>Calibri Bold 32pt can run </a:t>
            </a:r>
            <a:br>
              <a:rPr lang="en-GB" noProof="0"/>
            </a:br>
            <a:r>
              <a:rPr lang="en-GB" noProof="0"/>
              <a:t>over three line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91475" y="2895439"/>
            <a:ext cx="5040000" cy="249205"/>
          </a:xfrm>
        </p:spPr>
        <p:txBody>
          <a:bodyPr/>
          <a:lstStyle>
            <a:lvl1pPr marL="0" indent="0" algn="l" rtl="0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D/MM/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084CBE9-0A5A-EFC8-A723-CEE929AA16A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073034" y="999938"/>
            <a:ext cx="5040000" cy="251999"/>
          </a:xfrm>
        </p:spPr>
        <p:txBody>
          <a:bodyPr lIns="0" tIns="0" rIns="0" bIns="0" anchor="t" anchorCtr="0">
            <a:noAutofit/>
          </a:bodyPr>
          <a:lstStyle>
            <a:lvl1pPr marL="0" indent="0" rtl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Optional overhead Calibri 16 pt</a:t>
            </a:r>
          </a:p>
        </p:txBody>
      </p:sp>
    </p:spTree>
    <p:extLst>
      <p:ext uri="{BB962C8B-B14F-4D97-AF65-F5344CB8AC3E}">
        <p14:creationId xmlns:p14="http://schemas.microsoft.com/office/powerpoint/2010/main" val="1659911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Text frame / Logo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0622981-7998-9332-E47D-5C1B092654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4058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0622981-7998-9332-E47D-5C1B092654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4CD0BCB-B878-D115-AAA1-A05F558E852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 rtl="0">
              <a:defRPr sz="1200"/>
            </a:lvl1pPr>
          </a:lstStyle>
          <a:p>
            <a:r>
              <a:rPr lang="en-GB" noProof="0"/>
              <a:t>Insert image (33,67 x 19,05 cm) and place into backgrou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860EB8-2B9F-8FF0-AE73-92AD72A124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9035" y="689400"/>
            <a:ext cx="5940000" cy="2739600"/>
          </a:xfrm>
          <a:solidFill>
            <a:schemeClr val="bg1"/>
          </a:solidFill>
        </p:spPr>
        <p:txBody>
          <a:bodyPr vert="horz" lIns="503998" tIns="612000" anchor="t" anchorCtr="0"/>
          <a:lstStyle>
            <a:lvl1pPr algn="l" rtl="0">
              <a:lnSpc>
                <a:spcPct val="100000"/>
              </a:lnSpc>
              <a:defRPr sz="32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noProof="0"/>
              <a:t>Presentation title </a:t>
            </a:r>
            <a:br>
              <a:rPr lang="en-GB" noProof="0"/>
            </a:br>
            <a:r>
              <a:rPr lang="en-GB" noProof="0"/>
              <a:t>Calibri Bold 32pt can run </a:t>
            </a:r>
            <a:br>
              <a:rPr lang="en-GB" noProof="0"/>
            </a:br>
            <a:r>
              <a:rPr lang="en-GB" noProof="0"/>
              <a:t>over three line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B46B8EB-30D0-29F8-FC02-1638FCFCE0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91475" y="2895439"/>
            <a:ext cx="5040000" cy="249205"/>
          </a:xfrm>
        </p:spPr>
        <p:txBody>
          <a:bodyPr/>
          <a:lstStyle>
            <a:lvl1pPr marL="0" indent="0" algn="l" rtl="0">
              <a:lnSpc>
                <a:spcPct val="100000"/>
              </a:lnSpc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DD/MM/YYYY Calibri 16pt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BBD3A0D8-BB42-1C81-F744-09B9120C4D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084CBE9-0A5A-EFC8-A723-CEE929AA16A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1073034" y="999938"/>
            <a:ext cx="5040000" cy="251999"/>
          </a:xfrm>
        </p:spPr>
        <p:txBody>
          <a:bodyPr lIns="0" tIns="0" rIns="0" bIns="0" anchor="t" anchorCtr="0">
            <a:noAutofit/>
          </a:bodyPr>
          <a:lstStyle>
            <a:lvl1pPr marL="0" indent="0" rtl="0">
              <a:lnSpc>
                <a:spcPct val="100000"/>
              </a:lnSpc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Optional overhead Calibri 16 pt</a:t>
            </a:r>
          </a:p>
        </p:txBody>
      </p:sp>
    </p:spTree>
    <p:extLst>
      <p:ext uri="{BB962C8B-B14F-4D97-AF65-F5344CB8AC3E}">
        <p14:creationId xmlns:p14="http://schemas.microsoft.com/office/powerpoint/2010/main" val="3370723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/ Image light / Logo D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3A544D9-E2DD-588A-ED72-B1C4A8389E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384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3A544D9-E2DD-588A-ED72-B1C4A8389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8">
            <a:extLst>
              <a:ext uri="{FF2B5EF4-FFF2-40B4-BE49-F238E27FC236}">
                <a16:creationId xmlns:a16="http://schemas.microsoft.com/office/drawing/2014/main" id="{03A9AC97-8615-96A9-5507-ACED96090F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 rtl="0">
              <a:defRPr sz="1200"/>
            </a:lvl1pPr>
          </a:lstStyle>
          <a:p>
            <a:r>
              <a:rPr lang="en-GB" noProof="0"/>
              <a:t>Insert image (33,67 x 19,05 cm) and place into backgrou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445C0B-EDB2-40FD-8471-9EE401C578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" y="0"/>
            <a:ext cx="12121200" cy="6858000"/>
          </a:xfrm>
          <a:solidFill>
            <a:schemeClr val="bg1">
              <a:alpha val="60000"/>
            </a:schemeClr>
          </a:solidFill>
        </p:spPr>
        <p:txBody>
          <a:bodyPr vert="horz" tIns="360000" anchor="ctr" anchorCtr="0"/>
          <a:lstStyle>
            <a:lvl1pPr algn="ctr" rtl="0">
              <a:lnSpc>
                <a:spcPct val="90000"/>
              </a:lnSpc>
              <a:defRPr sz="4000" b="1" i="0" spc="-100" baseline="0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GB" noProof="0"/>
              <a:t>Chapter Calibri Bold 40pt, </a:t>
            </a:r>
            <a:br>
              <a:rPr lang="en-GB" noProof="0"/>
            </a:br>
            <a:r>
              <a:rPr lang="en-GB" noProof="0"/>
              <a:t>can run over three lines</a:t>
            </a:r>
            <a:br>
              <a:rPr lang="en-GB" noProof="0"/>
            </a:br>
            <a:r>
              <a:rPr lang="en-GB" noProof="0"/>
              <a:t>(to replace image set text frame in the background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D5D5661-E1A5-7834-E06C-67940157A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F967B9-3C9A-B95E-67EA-15919932D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umsplatzhalter 7">
            <a:extLst>
              <a:ext uri="{FF2B5EF4-FFF2-40B4-BE49-F238E27FC236}">
                <a16:creationId xmlns:a16="http://schemas.microsoft.com/office/drawing/2014/main" id="{A5F76BAF-2314-772A-90CC-94FA1467AB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731C518-A9CB-4D83-8DA3-0EF8B406D518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29E479F4-FDBB-4B9D-AC8B-CD93F9F4A3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06991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/ Image dark /  Logo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1072882-E6D6-F354-9094-234FF0AEA6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5108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71072882-E6D6-F354-9094-234FF0AEA6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8">
            <a:extLst>
              <a:ext uri="{FF2B5EF4-FFF2-40B4-BE49-F238E27FC236}">
                <a16:creationId xmlns:a16="http://schemas.microsoft.com/office/drawing/2014/main" id="{03A9AC97-8615-96A9-5507-ACED96090F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000" y="0"/>
            <a:ext cx="12121200" cy="6858000"/>
          </a:xfrm>
          <a:solidFill>
            <a:schemeClr val="bg2"/>
          </a:solidFill>
        </p:spPr>
        <p:txBody>
          <a:bodyPr lIns="72000"/>
          <a:lstStyle>
            <a:lvl1pPr rtl="0">
              <a:defRPr sz="1200"/>
            </a:lvl1pPr>
          </a:lstStyle>
          <a:p>
            <a:r>
              <a:rPr lang="en-GB" noProof="0"/>
              <a:t>Insert image (33,67 x 19,05 cm) and place into backgrou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445C0B-EDB2-40FD-8471-9EE401C578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999" y="431801"/>
            <a:ext cx="11041325" cy="5562600"/>
          </a:xfrm>
        </p:spPr>
        <p:txBody>
          <a:bodyPr vert="horz" tIns="360000" anchor="ctr" anchorCtr="0"/>
          <a:lstStyle>
            <a:lvl1pPr algn="ctr" rtl="0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GB"/>
              <a:t>Chapter Calibri Bold </a:t>
            </a:r>
            <a:br>
              <a:rPr lang="en-GB"/>
            </a:br>
            <a:r>
              <a:rPr lang="en-GB"/>
              <a:t>40pt, can run over</a:t>
            </a:r>
            <a:br>
              <a:rPr lang="en-GB"/>
            </a:br>
            <a:r>
              <a:rPr lang="en-GB"/>
              <a:t>three lines</a:t>
            </a:r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D5D5661-E1A5-7834-E06C-67940157A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F967B9-3C9A-B95E-67EA-15919932D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umsplatzhalter 7">
            <a:extLst>
              <a:ext uri="{FF2B5EF4-FFF2-40B4-BE49-F238E27FC236}">
                <a16:creationId xmlns:a16="http://schemas.microsoft.com/office/drawing/2014/main" id="{A5F76BAF-2314-772A-90CC-94FA1467AB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0A93B37-7168-45BD-807D-BE81FD8AF6E3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29E479F4-FDBB-4B9D-AC8B-CD93F9F4A3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5200" y="432000"/>
            <a:ext cx="1602000" cy="5148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rtl="0"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08749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Text singl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C6CDA74F-105F-F859-D32B-ED513C2825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6416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C6CDA74F-105F-F859-D32B-ED513C2825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6E6D516-16FC-E36D-B562-3042F16FD3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731101"/>
            <a:ext cx="9000000" cy="720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54D7AD2-E4A3-CCB1-ACE1-9044C0FD7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759754-8EA4-4532-0B43-AFD8DD3C7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949DE8-BBB9-783D-A816-195E23A1D8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1638000"/>
            <a:ext cx="11041062" cy="4446000"/>
          </a:xfrm>
        </p:spPr>
        <p:txBody>
          <a:bodyPr/>
          <a:lstStyle>
            <a:lvl1pPr rtl="0">
              <a:defRPr sz="2000"/>
            </a:lvl1pPr>
            <a:lvl2pPr rtl="0">
              <a:defRPr sz="2000"/>
            </a:lvl2pPr>
            <a:lvl3pPr rtl="0">
              <a:buClr>
                <a:schemeClr val="accent1"/>
              </a:buClr>
              <a:defRPr sz="2000"/>
            </a:lvl3pPr>
            <a:lvl4pPr rtl="0">
              <a:buClr>
                <a:schemeClr val="accent2"/>
              </a:buClr>
              <a:defRPr sz="2000"/>
            </a:lvl4pPr>
            <a:lvl5pPr rtl="0">
              <a:defRPr sz="2000"/>
            </a:lvl5pPr>
          </a:lstStyle>
          <a:p>
            <a:pPr lvl="0"/>
            <a:r>
              <a:rPr lang="en-GB" noProof="0" dirty="0"/>
              <a:t>First text level Calibri 16pt. Manually set text titles or text emphases in Calibri Bold.</a:t>
            </a:r>
            <a:br>
              <a:rPr lang="en-GB" noProof="0" dirty="0"/>
            </a:br>
            <a:r>
              <a:rPr lang="en-GB" noProof="0" dirty="0"/>
              <a:t>Please only create bulleted lists using the menu Paragraph &gt; symbol Increase or Decrease Indent.</a:t>
            </a:r>
            <a:br>
              <a:rPr lang="en-GB" noProof="0" dirty="0"/>
            </a:br>
            <a:endParaRPr lang="en-GB" noProof="0" dirty="0"/>
          </a:p>
          <a:p>
            <a:pPr lvl="1"/>
            <a:r>
              <a:rPr lang="en-GB" noProof="0" dirty="0"/>
              <a:t>Second text level with filled circle as bullet</a:t>
            </a:r>
          </a:p>
          <a:p>
            <a:pPr lvl="2"/>
            <a:r>
              <a:rPr lang="en-GB" noProof="0" dirty="0"/>
              <a:t>Third text level </a:t>
            </a:r>
          </a:p>
          <a:p>
            <a:pPr lvl="3"/>
            <a:r>
              <a:rPr lang="en-GB" noProof="0" dirty="0"/>
              <a:t>Fourth text level </a:t>
            </a:r>
          </a:p>
          <a:p>
            <a:pPr lvl="4"/>
            <a:r>
              <a:rPr lang="en-GB" noProof="0" dirty="0"/>
              <a:t>Fifth text level </a:t>
            </a:r>
          </a:p>
        </p:txBody>
      </p:sp>
      <p:sp>
        <p:nvSpPr>
          <p:cNvPr id="4" name="Datumsplatzhalter 7">
            <a:extLst>
              <a:ext uri="{FF2B5EF4-FFF2-40B4-BE49-F238E27FC236}">
                <a16:creationId xmlns:a16="http://schemas.microsoft.com/office/drawing/2014/main" id="{794588AC-65A9-832B-1844-7CA356EA36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498874" cy="144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9AFC8BD6-682E-1A44-B559-C47137E78FE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000" y="347044"/>
            <a:ext cx="5495674" cy="320400"/>
          </a:xfrm>
        </p:spPr>
        <p:txBody>
          <a:bodyPr anchor="ctr" anchorCtr="0"/>
          <a:lstStyle>
            <a:lvl1pPr rtl="0"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noProof="0"/>
              <a:t>Optional chapter title Calibri 16pt</a:t>
            </a:r>
          </a:p>
        </p:txBody>
      </p:sp>
      <p:pic>
        <p:nvPicPr>
          <p:cNvPr id="3" name="Grafik 3">
            <a:extLst>
              <a:ext uri="{FF2B5EF4-FFF2-40B4-BE49-F238E27FC236}">
                <a16:creationId xmlns:a16="http://schemas.microsoft.com/office/drawing/2014/main" id="{8F97238A-7C97-7F58-2F1A-23D3B988A4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015200" y="432604"/>
            <a:ext cx="1602000" cy="51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8750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5EEBAFE-5871-D42D-83F6-6B40A93DA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023599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592" imgH="595" progId="TCLayout.ActiveDocument.1">
                  <p:embed/>
                </p:oleObj>
              </mc:Choice>
              <mc:Fallback>
                <p:oleObj name="think-cell Slide" r:id="rId28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5EEBAFE-5871-D42D-83F6-6B40A93DA8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2E9F7BA-B0C1-B70C-1AED-6BB562CCD0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7600" y="6394450"/>
            <a:ext cx="499680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 rtl="0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B5733E-133E-0390-9930-077D87B3E9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6000" y="6394450"/>
            <a:ext cx="27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76E869C4-A6B7-C94B-8090-B1B23BF5850A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5D05902-58D1-4668-8085-8730E3E299F7}"/>
              </a:ext>
            </a:extLst>
          </p:cNvPr>
          <p:cNvGrpSpPr/>
          <p:nvPr userDrawn="1"/>
        </p:nvGrpSpPr>
        <p:grpSpPr>
          <a:xfrm>
            <a:off x="0" y="1"/>
            <a:ext cx="72000" cy="6858000"/>
            <a:chOff x="314960" y="1"/>
            <a:chExt cx="72000" cy="6858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67103B8-D951-7A8B-4D19-D40065BD08BF}"/>
                </a:ext>
              </a:extLst>
            </p:cNvPr>
            <p:cNvSpPr/>
            <p:nvPr userDrawn="1"/>
          </p:nvSpPr>
          <p:spPr>
            <a:xfrm>
              <a:off x="314960" y="1"/>
              <a:ext cx="72000" cy="228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04ED8B2-80C8-D25B-2BEB-3E9EF90AF61F}"/>
                </a:ext>
              </a:extLst>
            </p:cNvPr>
            <p:cNvSpPr/>
            <p:nvPr userDrawn="1"/>
          </p:nvSpPr>
          <p:spPr>
            <a:xfrm>
              <a:off x="314960" y="2286001"/>
              <a:ext cx="72000" cy="228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B1AEC67-4A98-1ACA-37F1-EC3F96E024DE}"/>
                </a:ext>
              </a:extLst>
            </p:cNvPr>
            <p:cNvSpPr/>
            <p:nvPr userDrawn="1"/>
          </p:nvSpPr>
          <p:spPr>
            <a:xfrm>
              <a:off x="314960" y="4572001"/>
              <a:ext cx="72000" cy="228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noProof="0"/>
            </a:p>
          </p:txBody>
        </p: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843CECE-878A-AE99-A635-FD96592FF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731101"/>
            <a:ext cx="11041325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Headline Calibri Bold 26pt one or max. two lin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E971879-A025-3E92-B40F-9152EC1E6C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000" y="1639217"/>
            <a:ext cx="11040000" cy="444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First text level Calibri 16pt. Manually set text titles or text emphases in Calibri Bold.</a:t>
            </a:r>
            <a:br>
              <a:rPr lang="en-GB" noProof="0"/>
            </a:br>
            <a:r>
              <a:rPr lang="en-GB" noProof="0"/>
              <a:t>Please only create bulleted lists using the menu Paragraph &gt; symbol Increase or Decrease Indent.</a:t>
            </a:r>
            <a:br>
              <a:rPr lang="en-GB" noProof="0"/>
            </a:br>
            <a:endParaRPr lang="en-GB" noProof="0"/>
          </a:p>
          <a:p>
            <a:pPr lvl="1"/>
            <a:r>
              <a:rPr lang="en-GB" noProof="0"/>
              <a:t>Second text level with filled circle as bullet</a:t>
            </a:r>
          </a:p>
          <a:p>
            <a:pPr lvl="2"/>
            <a:r>
              <a:rPr lang="en-GB" noProof="0"/>
              <a:t>Third text level </a:t>
            </a:r>
          </a:p>
          <a:p>
            <a:pPr lvl="3"/>
            <a:r>
              <a:rPr lang="en-GB" noProof="0"/>
              <a:t>Fourth text level </a:t>
            </a:r>
          </a:p>
          <a:p>
            <a:pPr lvl="4"/>
            <a:r>
              <a:rPr lang="en-GB" noProof="0"/>
              <a:t>Fifth text level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3FDF60B9-C527-691E-CBAB-6FDFC043DB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6000" y="6394451"/>
            <a:ext cx="720000" cy="1440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l" rtl="0">
              <a:defRPr lang="de-DE" sz="800" kern="12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0644709-F1F8-4421-8C2E-2C9B22D5D15A}" type="datetime1">
              <a:rPr lang="en-GB" smtClean="0"/>
              <a:pPr/>
              <a:t>17/12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5504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2" r:id="rId2"/>
    <p:sldLayoutId id="2147483683" r:id="rId3"/>
    <p:sldLayoutId id="2147483684" r:id="rId4"/>
    <p:sldLayoutId id="2147483657" r:id="rId5"/>
    <p:sldLayoutId id="2147483685" r:id="rId6"/>
    <p:sldLayoutId id="2147483686" r:id="rId7"/>
    <p:sldLayoutId id="2147483667" r:id="rId8"/>
    <p:sldLayoutId id="2147483661" r:id="rId9"/>
    <p:sldLayoutId id="2147483662" r:id="rId10"/>
    <p:sldLayoutId id="2147483664" r:id="rId11"/>
    <p:sldLayoutId id="2147483650" r:id="rId12"/>
    <p:sldLayoutId id="2147483666" r:id="rId13"/>
    <p:sldLayoutId id="2147483678" r:id="rId14"/>
    <p:sldLayoutId id="2147483679" r:id="rId15"/>
    <p:sldLayoutId id="2147483654" r:id="rId16"/>
    <p:sldLayoutId id="2147483668" r:id="rId17"/>
    <p:sldLayoutId id="2147483669" r:id="rId18"/>
    <p:sldLayoutId id="2147483672" r:id="rId19"/>
    <p:sldLayoutId id="2147483673" r:id="rId20"/>
    <p:sldLayoutId id="2147483680" r:id="rId21"/>
    <p:sldLayoutId id="2147483681" r:id="rId22"/>
    <p:sldLayoutId id="2147483674" r:id="rId23"/>
    <p:sldLayoutId id="2147483677" r:id="rId24"/>
    <p:sldLayoutId id="2147483688" r:id="rId25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5000"/>
        </a:lnSpc>
        <a:spcBef>
          <a:spcPts val="0"/>
        </a:spcBef>
        <a:buFontTx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25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25000"/>
        </a:lnSpc>
        <a:spcBef>
          <a:spcPts val="0"/>
        </a:spcBef>
        <a:spcAft>
          <a:spcPts val="80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25000"/>
        </a:lnSpc>
        <a:spcBef>
          <a:spcPts val="0"/>
        </a:spcBef>
        <a:spcAft>
          <a:spcPts val="80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25000"/>
        </a:lnSpc>
        <a:spcBef>
          <a:spcPts val="0"/>
        </a:spcBef>
        <a:spcAft>
          <a:spcPts val="80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2" userDrawn="1">
          <p15:clr>
            <a:srgbClr val="F26B43"/>
          </p15:clr>
        </p15:guide>
        <p15:guide id="2" pos="362" userDrawn="1">
          <p15:clr>
            <a:srgbClr val="F26B43"/>
          </p15:clr>
        </p15:guide>
        <p15:guide id="3" orient="horz" pos="3776" userDrawn="1">
          <p15:clr>
            <a:srgbClr val="F26B43"/>
          </p15:clr>
        </p15:guide>
        <p15:guide id="4" pos="7318" userDrawn="1">
          <p15:clr>
            <a:srgbClr val="F26B43"/>
          </p15:clr>
        </p15:guide>
        <p15:guide id="5" orient="horz" pos="10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7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8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jp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7ACCE47-F9BB-AA5C-6F48-C4CF44C0457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5F7D609-D33C-B032-49FA-933D2D29CB7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icrocontroller</a:t>
            </a: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E0B670C-F3E9-06F0-13ED-5E11BBF0271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641044-0015-4266-F887-FC2C4A14E3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C150F2-C758-2D22-DC1E-FC6DC4DA0269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493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2F8F62-6DB2-9480-82A5-CB19C5DE81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995F2-2F51-596F-A1EE-8C57FEC7D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un </a:t>
            </a:r>
            <a:r>
              <a:rPr lang="de-DE" dirty="0" err="1"/>
              <a:t>the</a:t>
            </a:r>
            <a:r>
              <a:rPr lang="de-DE" dirty="0"/>
              <a:t> Arduino ID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52983F-1AFA-1D04-C429-9B4701113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CBE268-F156-D1C4-CBDE-E67DE3E65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68F36F-5EF8-010D-015E-7BF7350300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1638000"/>
            <a:ext cx="5073099" cy="4446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ce you have downloaded and installed/extracted the folder, you can directly run Arduino.exe, which will take you to its I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IDE will look like the shown screenshot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oding language is C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FF6886C-EF5F-DC4C-D2EC-89FE160E1A3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F7A272D-6A35-D645-5BA8-22513B0790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AE062547-C2D2-B80C-D8F5-1D997D7E0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01910" y="1664309"/>
            <a:ext cx="3757392" cy="4508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0504447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6EEE12-9B4C-D789-8867-A01623D871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C7E19-696D-A56B-5DF2-925C0666D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un </a:t>
            </a:r>
            <a:r>
              <a:rPr lang="de-DE" dirty="0" err="1"/>
              <a:t>the</a:t>
            </a:r>
            <a:r>
              <a:rPr lang="de-DE" dirty="0"/>
              <a:t> Arduino ID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B62086-41BE-F3E2-F534-E0A3187E9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397081-4D65-5B98-8B80-C4178D438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6A5B7A-04C8-9C75-FA4C-A3D87CEA8F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1638000"/>
            <a:ext cx="5073099" cy="4446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ce you have downloaded and installed/extracted the folder, you can directly run Arduino.exe, which will take you to its I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IDE will look like the shown screenshot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oding language is C++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etup: Code will run once the Arduino / ESP 32 is start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Loop: After setup was called, the loop will run indefinitel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E230F22-1097-9F44-A4F8-1973F258791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BEF2A5B-C8DC-2200-1F1C-C5ED852DE95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82588A6B-961D-BB1A-CC1B-45A20A80D5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01910" y="1664309"/>
            <a:ext cx="3757392" cy="4508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AB5BCBE-DAFE-34DC-E336-8656487DBA16}"/>
              </a:ext>
            </a:extLst>
          </p:cNvPr>
          <p:cNvCxnSpPr>
            <a:cxnSpLocks/>
            <a:stCxn id="5" idx="3"/>
          </p:cNvCxnSpPr>
          <p:nvPr/>
        </p:nvCxnSpPr>
        <p:spPr>
          <a:xfrm flipV="1">
            <a:off x="5649361" y="2693324"/>
            <a:ext cx="893280" cy="1167676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E79A43B-FAE0-E26C-CE21-62AE53A762A3}"/>
              </a:ext>
            </a:extLst>
          </p:cNvPr>
          <p:cNvCxnSpPr>
            <a:cxnSpLocks/>
          </p:cNvCxnSpPr>
          <p:nvPr/>
        </p:nvCxnSpPr>
        <p:spPr>
          <a:xfrm flipV="1">
            <a:off x="5730844" y="3308465"/>
            <a:ext cx="811797" cy="1537855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52443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A128F-E9C3-69A3-B246-A1BC739C2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puts vs. Output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FB7D47-A06D-0C7B-2C2D-3131EFECA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C59C8E-C9F1-92CF-0015-487B871753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E576AD-DEFB-1A41-7690-AE7D4988AB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F9AA5AD-B458-9E10-1260-A8658A88FAD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5237FAFF-BA1C-BE42-A404-23AE6E51E9A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4" descr="pic1">
            <a:extLst>
              <a:ext uri="{FF2B5EF4-FFF2-40B4-BE49-F238E27FC236}">
                <a16:creationId xmlns:a16="http://schemas.microsoft.com/office/drawing/2014/main" id="{1CE370C7-A0E8-2552-C3AE-8C72C55E5D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71474" y="2120900"/>
            <a:ext cx="7455401" cy="405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5940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2B373-4A15-AA57-7F09-212AA9C43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ading (Input) and Writing (Output) Data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FDF7E8-B4E2-5D39-0E79-1E198F4AC2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DCB59E-2F0C-E308-36D1-1EC34DFC1B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288231-1BF0-0D8A-61F9-0021EADDB5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ins can be used to read or write data</a:t>
            </a:r>
          </a:p>
          <a:p>
            <a:pPr marL="501750" lvl="1" indent="-285750"/>
            <a:r>
              <a:rPr lang="en-US" dirty="0" err="1"/>
              <a:t>digitalWrite</a:t>
            </a:r>
            <a:r>
              <a:rPr lang="en-US" dirty="0"/>
              <a:t>()</a:t>
            </a:r>
          </a:p>
          <a:p>
            <a:pPr marL="501750" lvl="1" indent="-285750"/>
            <a:r>
              <a:rPr lang="en-US" dirty="0" err="1"/>
              <a:t>analogWrite</a:t>
            </a:r>
            <a:r>
              <a:rPr lang="en-US" dirty="0"/>
              <a:t>()</a:t>
            </a:r>
          </a:p>
          <a:p>
            <a:pPr marL="501750" lvl="1" indent="-285750"/>
            <a:r>
              <a:rPr lang="en-US" dirty="0" err="1"/>
              <a:t>digitalRead</a:t>
            </a:r>
            <a:r>
              <a:rPr lang="en-US" dirty="0"/>
              <a:t>()</a:t>
            </a:r>
          </a:p>
          <a:p>
            <a:pPr marL="501750" lvl="1" indent="-285750"/>
            <a:r>
              <a:rPr lang="en-US" dirty="0" err="1"/>
              <a:t>analogRead</a:t>
            </a:r>
            <a:r>
              <a:rPr lang="en-US" dirty="0"/>
              <a:t>()</a:t>
            </a:r>
          </a:p>
          <a:p>
            <a:endParaRPr lang="en-GB" dirty="0"/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EDF9CDC-78EE-7B91-0806-D880DBC7581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BAD7B6A5-BA2C-1963-92FA-1B91FE3780E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13">
            <a:extLst>
              <a:ext uri="{FF2B5EF4-FFF2-40B4-BE49-F238E27FC236}">
                <a16:creationId xmlns:a16="http://schemas.microsoft.com/office/drawing/2014/main" id="{18655A1F-186D-029D-CF5D-09F1BA620124}"/>
              </a:ext>
            </a:extLst>
          </p:cNvPr>
          <p:cNvGrpSpPr>
            <a:grpSpLocks/>
          </p:cNvGrpSpPr>
          <p:nvPr/>
        </p:nvGrpSpPr>
        <p:grpSpPr bwMode="auto">
          <a:xfrm>
            <a:off x="1740354" y="4198257"/>
            <a:ext cx="8077200" cy="1498600"/>
            <a:chOff x="124460" y="4394200"/>
            <a:chExt cx="8077200" cy="1498600"/>
          </a:xfrm>
        </p:grpSpPr>
        <p:pic>
          <p:nvPicPr>
            <p:cNvPr id="9" name="Picture 8" descr="http://soulargrooves.com/new/wp-content/uploads/2012/11/analog-signal.gif">
              <a:extLst>
                <a:ext uri="{FF2B5EF4-FFF2-40B4-BE49-F238E27FC236}">
                  <a16:creationId xmlns:a16="http://schemas.microsoft.com/office/drawing/2014/main" id="{CAF1F0C3-7B61-462A-3839-D1EEA35532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 t="50000"/>
            <a:stretch>
              <a:fillRect/>
            </a:stretch>
          </p:blipFill>
          <p:spPr bwMode="auto">
            <a:xfrm>
              <a:off x="815975" y="4394200"/>
              <a:ext cx="3200400" cy="1271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8" descr="http://soulargrooves.com/new/wp-content/uploads/2012/11/analog-signal.gif">
              <a:extLst>
                <a:ext uri="{FF2B5EF4-FFF2-40B4-BE49-F238E27FC236}">
                  <a16:creationId xmlns:a16="http://schemas.microsoft.com/office/drawing/2014/main" id="{CF2D3FD6-7B6F-AA1E-06C5-32C8B27B09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 t="30556" b="50000"/>
            <a:stretch>
              <a:fillRect/>
            </a:stretch>
          </p:blipFill>
          <p:spPr bwMode="auto">
            <a:xfrm>
              <a:off x="4895850" y="5398294"/>
              <a:ext cx="3200400" cy="4945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D77DBEE-FADA-A7DF-B5A0-C99B979555AF}"/>
                </a:ext>
              </a:extLst>
            </p:cNvPr>
            <p:cNvCxnSpPr/>
            <p:nvPr/>
          </p:nvCxnSpPr>
          <p:spPr bwMode="auto">
            <a:xfrm flipV="1">
              <a:off x="5021898" y="4827588"/>
              <a:ext cx="795337" cy="492125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grpSp>
          <p:nvGrpSpPr>
            <p:cNvPr id="12" name="Group 8">
              <a:extLst>
                <a:ext uri="{FF2B5EF4-FFF2-40B4-BE49-F238E27FC236}">
                  <a16:creationId xmlns:a16="http://schemas.microsoft.com/office/drawing/2014/main" id="{2BFB474B-3298-F207-8625-A7DE88D3406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7635" y="4657517"/>
              <a:ext cx="657860" cy="338554"/>
              <a:chOff x="48260" y="4657517"/>
              <a:chExt cx="657860" cy="338554"/>
            </a:xfrm>
          </p:grpSpPr>
          <p:sp>
            <p:nvSpPr>
              <p:cNvPr id="25" name="TextBox 12">
                <a:extLst>
                  <a:ext uri="{FF2B5EF4-FFF2-40B4-BE49-F238E27FC236}">
                    <a16:creationId xmlns:a16="http://schemas.microsoft.com/office/drawing/2014/main" id="{BEFEA4D5-0F05-E1A8-9DED-5A271A675A0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8260" y="4657517"/>
                <a:ext cx="520700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eaLnBrk="0" hangingPunct="0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r>
                  <a:rPr lang="en-US" sz="1600">
                    <a:solidFill>
                      <a:schemeClr val="tx1"/>
                    </a:solidFill>
                  </a:rPr>
                  <a:t>5 V</a:t>
                </a:r>
              </a:p>
            </p:txBody>
          </p:sp>
          <p:cxnSp>
            <p:nvCxnSpPr>
              <p:cNvPr id="26" name="Straight Connector 5">
                <a:extLst>
                  <a:ext uri="{FF2B5EF4-FFF2-40B4-BE49-F238E27FC236}">
                    <a16:creationId xmlns:a16="http://schemas.microsoft.com/office/drawing/2014/main" id="{E7FC4A2B-1FEE-764F-83E3-7C2335CDC278}"/>
                  </a:ext>
                </a:extLst>
              </p:cNvPr>
              <p:cNvCxnSpPr>
                <a:stCxn id="25" idx="3"/>
              </p:cNvCxnSpPr>
              <p:nvPr/>
            </p:nvCxnSpPr>
            <p:spPr bwMode="auto">
              <a:xfrm>
                <a:off x="568960" y="4827588"/>
                <a:ext cx="136525" cy="0"/>
              </a:xfrm>
              <a:prstGeom prst="line">
                <a:avLst/>
              </a:prstGeom>
              <a:solidFill>
                <a:srgbClr val="00B8F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3" name="Group 9">
              <a:extLst>
                <a:ext uri="{FF2B5EF4-FFF2-40B4-BE49-F238E27FC236}">
                  <a16:creationId xmlns:a16="http://schemas.microsoft.com/office/drawing/2014/main" id="{9342D79C-FAF1-5922-AF4E-FA9905BF6C9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460" y="5152817"/>
              <a:ext cx="661035" cy="338554"/>
              <a:chOff x="63500" y="5152817"/>
              <a:chExt cx="661035" cy="338554"/>
            </a:xfrm>
          </p:grpSpPr>
          <p:sp>
            <p:nvSpPr>
              <p:cNvPr id="23" name="TextBox 2">
                <a:extLst>
                  <a:ext uri="{FF2B5EF4-FFF2-40B4-BE49-F238E27FC236}">
                    <a16:creationId xmlns:a16="http://schemas.microsoft.com/office/drawing/2014/main" id="{B0D04BDA-D763-2231-1ACD-21F46153AE0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3500" y="5152817"/>
                <a:ext cx="520700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eaLnBrk="0" hangingPunct="0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r>
                  <a:rPr lang="en-US" sz="1600">
                    <a:solidFill>
                      <a:schemeClr val="tx1"/>
                    </a:solidFill>
                  </a:rPr>
                  <a:t>0 V</a:t>
                </a:r>
              </a:p>
            </p:txBody>
          </p:sp>
          <p:cxnSp>
            <p:nvCxnSpPr>
              <p:cNvPr id="24" name="Straight Connector 7">
                <a:extLst>
                  <a:ext uri="{FF2B5EF4-FFF2-40B4-BE49-F238E27FC236}">
                    <a16:creationId xmlns:a16="http://schemas.microsoft.com/office/drawing/2014/main" id="{6C536B78-94C0-4039-7537-8FE6B9BFEE20}"/>
                  </a:ext>
                </a:extLst>
              </p:cNvPr>
              <p:cNvCxnSpPr>
                <a:stCxn id="23" idx="3"/>
              </p:cNvCxnSpPr>
              <p:nvPr/>
            </p:nvCxnSpPr>
            <p:spPr bwMode="auto">
              <a:xfrm>
                <a:off x="584200" y="5322888"/>
                <a:ext cx="139700" cy="0"/>
              </a:xfrm>
              <a:prstGeom prst="line">
                <a:avLst/>
              </a:prstGeom>
              <a:solidFill>
                <a:srgbClr val="00B8F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4" name="Group 18">
              <a:extLst>
                <a:ext uri="{FF2B5EF4-FFF2-40B4-BE49-F238E27FC236}">
                  <a16:creationId xmlns:a16="http://schemas.microsoft.com/office/drawing/2014/main" id="{EE9DC993-D3E5-9DC3-B431-BFBC482E17D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95775" y="4657517"/>
              <a:ext cx="657860" cy="338554"/>
              <a:chOff x="48260" y="4657517"/>
              <a:chExt cx="657860" cy="338554"/>
            </a:xfrm>
          </p:grpSpPr>
          <p:sp>
            <p:nvSpPr>
              <p:cNvPr id="21" name="TextBox 19">
                <a:extLst>
                  <a:ext uri="{FF2B5EF4-FFF2-40B4-BE49-F238E27FC236}">
                    <a16:creationId xmlns:a16="http://schemas.microsoft.com/office/drawing/2014/main" id="{474B0860-7E41-0851-DD99-3B60BF1FFA7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8260" y="4657517"/>
                <a:ext cx="520700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eaLnBrk="0" hangingPunct="0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r>
                  <a:rPr lang="en-US" sz="1600">
                    <a:solidFill>
                      <a:schemeClr val="tx1"/>
                    </a:solidFill>
                  </a:rPr>
                  <a:t>5 V</a:t>
                </a:r>
              </a:p>
            </p:txBody>
          </p: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51CD19CD-E03F-B0C2-052C-E60035F10B6F}"/>
                  </a:ext>
                </a:extLst>
              </p:cNvPr>
              <p:cNvCxnSpPr>
                <a:stCxn id="21" idx="3"/>
              </p:cNvCxnSpPr>
              <p:nvPr/>
            </p:nvCxnSpPr>
            <p:spPr bwMode="auto">
              <a:xfrm>
                <a:off x="569595" y="4827588"/>
                <a:ext cx="136525" cy="0"/>
              </a:xfrm>
              <a:prstGeom prst="line">
                <a:avLst/>
              </a:prstGeom>
              <a:solidFill>
                <a:srgbClr val="00B8F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5" name="Group 24">
              <a:extLst>
                <a:ext uri="{FF2B5EF4-FFF2-40B4-BE49-F238E27FC236}">
                  <a16:creationId xmlns:a16="http://schemas.microsoft.com/office/drawing/2014/main" id="{ED0CACF0-D09B-9257-46CF-F9CCCEA9C03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92600" y="5152817"/>
              <a:ext cx="661035" cy="338554"/>
              <a:chOff x="63500" y="5152817"/>
              <a:chExt cx="661035" cy="338554"/>
            </a:xfrm>
          </p:grpSpPr>
          <p:sp>
            <p:nvSpPr>
              <p:cNvPr id="19" name="TextBox 25">
                <a:extLst>
                  <a:ext uri="{FF2B5EF4-FFF2-40B4-BE49-F238E27FC236}">
                    <a16:creationId xmlns:a16="http://schemas.microsoft.com/office/drawing/2014/main" id="{D7A68554-73FB-4844-DC47-952AEE12C8D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3500" y="5152817"/>
                <a:ext cx="520700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eaLnBrk="0" hangingPunct="0"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r>
                  <a:rPr lang="en-US" sz="1600">
                    <a:solidFill>
                      <a:schemeClr val="tx1"/>
                    </a:solidFill>
                  </a:rPr>
                  <a:t>0 V</a:t>
                </a:r>
              </a:p>
            </p:txBody>
          </p: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98C1B7DB-410A-DF7A-C0E0-7F774A08F311}"/>
                  </a:ext>
                </a:extLst>
              </p:cNvPr>
              <p:cNvCxnSpPr>
                <a:stCxn id="19" idx="3"/>
              </p:cNvCxnSpPr>
              <p:nvPr/>
            </p:nvCxnSpPr>
            <p:spPr bwMode="auto">
              <a:xfrm>
                <a:off x="584835" y="5322888"/>
                <a:ext cx="139700" cy="0"/>
              </a:xfrm>
              <a:prstGeom prst="line">
                <a:avLst/>
              </a:prstGeom>
              <a:solidFill>
                <a:srgbClr val="00B8FF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3B1DDCD-DC9F-414D-327B-2D8FD44DBC5E}"/>
                </a:ext>
              </a:extLst>
            </p:cNvPr>
            <p:cNvCxnSpPr/>
            <p:nvPr/>
          </p:nvCxnSpPr>
          <p:spPr bwMode="auto">
            <a:xfrm>
              <a:off x="5817235" y="4826000"/>
              <a:ext cx="793750" cy="493713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18F8F1B-4CCF-C982-8657-AB44A6DDD1B7}"/>
                </a:ext>
              </a:extLst>
            </p:cNvPr>
            <p:cNvCxnSpPr/>
            <p:nvPr/>
          </p:nvCxnSpPr>
          <p:spPr bwMode="auto">
            <a:xfrm flipV="1">
              <a:off x="6610985" y="4827588"/>
              <a:ext cx="795338" cy="492125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E058319-38F3-3D94-8D6C-320D1ECBE595}"/>
                </a:ext>
              </a:extLst>
            </p:cNvPr>
            <p:cNvCxnSpPr/>
            <p:nvPr/>
          </p:nvCxnSpPr>
          <p:spPr bwMode="auto">
            <a:xfrm>
              <a:off x="7406323" y="4826000"/>
              <a:ext cx="795337" cy="493713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1810676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97B14-5C1E-E028-B69A-9373B8084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pload Code: Board </a:t>
            </a:r>
            <a:r>
              <a:rPr lang="de-DE" dirty="0" err="1"/>
              <a:t>Selectio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0ACBA4-CB80-4555-CC48-74873AEC88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A48DA9-1713-7E50-8D74-D32F6D9C2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7EC102-9906-BB3B-79AD-CC491444DC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1638000"/>
            <a:ext cx="5254169" cy="444600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Before uploading your code to the Arduino / ESP32, double check that correct board is selected under Tool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Board</a:t>
            </a:r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37AAEB6-0A83-044C-D96F-1A59FCD2299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605E87DA-84DD-42A9-41E5-BD2C2247699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9FBD394C-3439-3C57-FF77-A11DDC2367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9900FF"/>
              </a:clrFrom>
              <a:clrTo>
                <a:srgbClr val="9900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15000" y="2011680"/>
            <a:ext cx="5710691" cy="2942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8869642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34F65-A0F9-056D-BEEE-AC80242D2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pload Code: Serial Port </a:t>
            </a:r>
            <a:r>
              <a:rPr lang="de-DE" dirty="0" err="1"/>
              <a:t>Selectio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BF2C1A-D02D-2669-D17D-91882E7F2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29A34A-C931-3D8B-0870-266B0950E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906B70-567C-6D9B-9648-7E9883D272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5872162" cy="444600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err="1"/>
              <a:t>upload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rial</a:t>
            </a:r>
            <a:r>
              <a:rPr lang="de-DE" dirty="0"/>
              <a:t> </a:t>
            </a:r>
            <a:r>
              <a:rPr lang="de-DE" dirty="0" err="1"/>
              <a:t>port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selected</a:t>
            </a:r>
            <a:r>
              <a:rPr lang="de-DE" dirty="0"/>
              <a:t> (</a:t>
            </a:r>
            <a:r>
              <a:rPr lang="de-DE" dirty="0" err="1"/>
              <a:t>define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USB </a:t>
            </a:r>
            <a:r>
              <a:rPr lang="de-DE" dirty="0" err="1"/>
              <a:t>por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rduino / ESP32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)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67E8056-BEE2-A89F-C5D7-1CC6B5A71F7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1095106-0E24-6A87-E1C1-BDAE09F9B7B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98ED39BE-9ECC-BE87-96EF-68222142DA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AEC9"/>
              </a:clrFrom>
              <a:clrTo>
                <a:srgbClr val="FFAEC9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32310" y="1445532"/>
            <a:ext cx="4689475" cy="466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8291335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01C95C-D5AD-2B04-3E90-D3077C8E99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B5AC1A-64B0-D1FF-DAE6-006151DEA5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pload Code: Upload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86637A-4CC3-DA85-7736-A9F162398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A343E5-6B9E-0D66-C1EE-C2F59ED774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21EDE-AC39-BAD7-090B-F049E724E8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1638000"/>
            <a:ext cx="5073099" cy="4446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load code to the Arduino / ESP3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ce uploaded, whenever powered the microcontroller will start executing the code (setup first, then loop)</a:t>
            </a:r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90FB27A-2CAB-4D06-B3A9-305B816C3EC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15CDD0C-21B6-7E0F-5516-E0180A011BF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B1FBDC6B-690B-AA39-CFDE-9D0C9C8D4C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01910" y="1664309"/>
            <a:ext cx="3757392" cy="4508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8C9E373C-857D-E039-0082-F1129EEFB938}"/>
              </a:ext>
            </a:extLst>
          </p:cNvPr>
          <p:cNvSpPr/>
          <p:nvPr/>
        </p:nvSpPr>
        <p:spPr>
          <a:xfrm>
            <a:off x="6437014" y="1991764"/>
            <a:ext cx="353085" cy="371192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9109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0024E5-BD82-1070-9FB4-FAE8ABE016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41413-FB36-015D-1D9C-05E4D0B69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F20A8F-FA77-24D7-EDFA-DDA1050D6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A50A5E-9DE8-3ACF-3C87-97964C795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F1DF04-B4F7-16B3-C547-815CA9DF81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 err="1">
                <a:solidFill>
                  <a:schemeClr val="bg2">
                    <a:lumMod val="75000"/>
                  </a:schemeClr>
                </a:solidFill>
              </a:rPr>
              <a:t>Introduction</a:t>
            </a:r>
            <a:endParaRPr lang="de-DE" sz="3200" dirty="0">
              <a:solidFill>
                <a:schemeClr val="bg2">
                  <a:lumMod val="7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/>
              <a:t>Hardware Componen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>
                <a:solidFill>
                  <a:schemeClr val="bg2">
                    <a:lumMod val="75000"/>
                  </a:schemeClr>
                </a:solidFill>
              </a:rPr>
              <a:t>Coding</a:t>
            </a:r>
            <a:endParaRPr lang="en-US" sz="32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4E4E558-1B33-6623-C479-1C1532D2C1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0C8B261-ED76-A084-20D8-6080CD4EAA1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7885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7D778-A8A9-B8E4-A2DB-39D397F60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sh Butto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B5C067-7CE6-7270-18E6-4A537DEEA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57CC67-EE7D-5088-0076-4DB350FCE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18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4F2F72B-D5AA-06A4-4315-8C39D91192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5770216" cy="444600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button</a:t>
            </a:r>
            <a:r>
              <a:rPr lang="de-DE" dirty="0"/>
              <a:t> not </a:t>
            </a:r>
            <a:r>
              <a:rPr lang="de-DE" dirty="0" err="1"/>
              <a:t>pressed</a:t>
            </a:r>
            <a:r>
              <a:rPr lang="de-DE" dirty="0"/>
              <a:t>, 5 Volt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ad</a:t>
            </a:r>
            <a:r>
              <a:rPr lang="de-DE" dirty="0"/>
              <a:t> on </a:t>
            </a:r>
            <a:r>
              <a:rPr lang="de-DE" dirty="0" err="1"/>
              <a:t>pin</a:t>
            </a:r>
            <a:r>
              <a:rPr lang="de-DE" dirty="0"/>
              <a:t> 2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butt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pressed</a:t>
            </a:r>
            <a:r>
              <a:rPr lang="de-DE" dirty="0"/>
              <a:t>, 0 Volt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ad</a:t>
            </a:r>
            <a:r>
              <a:rPr lang="de-DE" dirty="0"/>
              <a:t> on </a:t>
            </a:r>
            <a:r>
              <a:rPr lang="de-DE" dirty="0" err="1"/>
              <a:t>pin</a:t>
            </a:r>
            <a:r>
              <a:rPr lang="de-DE" dirty="0"/>
              <a:t> 2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98CF885-9660-B15A-9611-8A3034FA3A5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4581433-BE8D-5326-6EAC-234FC86970C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864DB33-9AD2-6E87-9B5A-F39EAC8BBE68}"/>
              </a:ext>
            </a:extLst>
          </p:cNvPr>
          <p:cNvGrpSpPr/>
          <p:nvPr/>
        </p:nvGrpSpPr>
        <p:grpSpPr>
          <a:xfrm>
            <a:off x="6781046" y="2027489"/>
            <a:ext cx="4635374" cy="3790573"/>
            <a:chOff x="5794218" y="2027489"/>
            <a:chExt cx="4635374" cy="379057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1130AC-2FF0-7AFD-04A8-2CB2D8C3B4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22322" t="8812" r="21518" b="9628"/>
            <a:stretch/>
          </p:blipFill>
          <p:spPr>
            <a:xfrm>
              <a:off x="5794218" y="2027489"/>
              <a:ext cx="4635374" cy="3790573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95F33AF-F817-B43F-18C1-B313503E57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39689" y="4985108"/>
              <a:ext cx="257211" cy="171474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113B1ED-03B6-60DC-6B95-0737C730C7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39689" y="2686651"/>
              <a:ext cx="362001" cy="1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65318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18E8AA-D227-1044-643E-B61FABCB0E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5B1FD6-0204-7872-7A4A-EAB387F1E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sh Butto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DE9ABE-8143-7280-91D9-50B6C0BF0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06C399-F1A2-1AB6-B5F4-177F79C8F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F787BD-0C1E-A00F-764A-72224FB0C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5770216" cy="444600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CD3DF8A-F487-1FDB-9DEF-7E024EB5320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8CDF795-210D-D7D9-2315-AAE8A21036C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2E1E09D-EDCC-A9BC-6A72-A473E2F02E14}"/>
              </a:ext>
            </a:extLst>
          </p:cNvPr>
          <p:cNvGrpSpPr/>
          <p:nvPr/>
        </p:nvGrpSpPr>
        <p:grpSpPr>
          <a:xfrm>
            <a:off x="6781046" y="2027489"/>
            <a:ext cx="4635374" cy="3790573"/>
            <a:chOff x="5794218" y="2027489"/>
            <a:chExt cx="4635374" cy="379057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D5C0599-F9DA-CDE5-6985-87CFCCF480B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22322" t="8812" r="21518" b="9628"/>
            <a:stretch/>
          </p:blipFill>
          <p:spPr>
            <a:xfrm>
              <a:off x="5794218" y="2027489"/>
              <a:ext cx="4635374" cy="3790573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67EA70D-F418-27AA-9A4B-1BF7662A2C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39689" y="4985108"/>
              <a:ext cx="257211" cy="171474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68C856F-D943-47A9-B41B-29DACF876C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39689" y="2686651"/>
              <a:ext cx="362001" cy="181000"/>
            </a:xfrm>
            <a:prstGeom prst="rect">
              <a:avLst/>
            </a:prstGeom>
          </p:spPr>
        </p:pic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DDDB45D6-6D69-4176-B8AC-C76F30AC97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446" y="1580942"/>
            <a:ext cx="5553850" cy="3639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5312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8A454-87E2-50C2-5D56-69A9B12ED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7C3CA5-4BA8-1E7E-B1D3-46B86182D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E9FF38-7E24-6FA6-77F9-3AE53F3F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1976C4-62E4-9B09-8682-BA3BB41B13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 err="1"/>
              <a:t>Introduction</a:t>
            </a:r>
            <a:endParaRPr lang="de-DE" sz="32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>
                <a:solidFill>
                  <a:schemeClr val="bg2">
                    <a:lumMod val="75000"/>
                  </a:schemeClr>
                </a:solidFill>
              </a:rPr>
              <a:t>Hardware Componen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>
                <a:solidFill>
                  <a:schemeClr val="bg2">
                    <a:lumMod val="75000"/>
                  </a:schemeClr>
                </a:solidFill>
              </a:rPr>
              <a:t>Coding</a:t>
            </a:r>
            <a:endParaRPr lang="en-US" sz="32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1C1B8B6-38B3-305F-0C9D-5B9A71D7DBA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555CACE-27B3-67B9-88F7-E6682234D2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0894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34C537-9B4C-596A-9863-848E6FD7C1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tary Encoder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D9129E-1A39-699E-4F2F-6FC48609A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5AC33F-BBE5-692E-81BA-DAC12C675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5720B5-3A94-0ED6-52BC-FAA99631D3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5960339" cy="444600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Measure</a:t>
            </a:r>
            <a:r>
              <a:rPr lang="de-DE" dirty="0"/>
              <a:t> </a:t>
            </a:r>
            <a:r>
              <a:rPr lang="de-DE" dirty="0" err="1"/>
              <a:t>clockwis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ounterclockwise</a:t>
            </a:r>
            <a:r>
              <a:rPr lang="de-DE" dirty="0"/>
              <a:t> </a:t>
            </a:r>
            <a:r>
              <a:rPr lang="de-DE" dirty="0" err="1"/>
              <a:t>rotations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Pin C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in</a:t>
            </a:r>
            <a:r>
              <a:rPr lang="de-DE" dirty="0"/>
              <a:t> A and </a:t>
            </a:r>
            <a:r>
              <a:rPr lang="de-DE" dirty="0" err="1"/>
              <a:t>pin</a:t>
            </a:r>
            <a:r>
              <a:rPr lang="de-DE" dirty="0"/>
              <a:t> B via </a:t>
            </a:r>
            <a:r>
              <a:rPr lang="de-DE" dirty="0" err="1"/>
              <a:t>sliding</a:t>
            </a:r>
            <a:r>
              <a:rPr lang="de-DE" dirty="0"/>
              <a:t> </a:t>
            </a:r>
            <a:r>
              <a:rPr lang="de-DE" dirty="0" err="1"/>
              <a:t>contacts</a:t>
            </a:r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3BA66A2-138B-60D0-1534-F76364CFFC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5EB3F86-306E-37E4-05B5-45A4D1F6903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4EF486-74A5-1863-AA36-52BFA45453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6602" y="3675227"/>
            <a:ext cx="5221444" cy="1986196"/>
          </a:xfrm>
          <a:prstGeom prst="rect">
            <a:avLst/>
          </a:prstGeom>
        </p:spPr>
      </p:pic>
      <p:pic>
        <p:nvPicPr>
          <p:cNvPr id="11" name="Picture 10" descr="A close-up of a microchip&#10;&#10;Description automatically generated">
            <a:extLst>
              <a:ext uri="{FF2B5EF4-FFF2-40B4-BE49-F238E27FC236}">
                <a16:creationId xmlns:a16="http://schemas.microsoft.com/office/drawing/2014/main" id="{EC623FCA-F354-5E9C-C98B-CC07F8E7C1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2375" y="1451101"/>
            <a:ext cx="2333625" cy="196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02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1FA6F0-E563-A056-D709-56FEB40362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6D516-5C5C-91CC-34B4-77E53CC4FD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tary Encoder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DE7EA1-A0BD-53CA-81BF-FB07BAC333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8CF270-9634-4AC6-E236-FC4500C6C0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21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D1B199-9B19-C064-61AA-7E766DEAAD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5960339" cy="444600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Measure</a:t>
            </a:r>
            <a:r>
              <a:rPr lang="de-DE" dirty="0"/>
              <a:t> </a:t>
            </a:r>
            <a:r>
              <a:rPr lang="de-DE" dirty="0" err="1"/>
              <a:t>clockwis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ounterclockwise</a:t>
            </a:r>
            <a:r>
              <a:rPr lang="de-DE" dirty="0"/>
              <a:t> </a:t>
            </a:r>
            <a:r>
              <a:rPr lang="de-DE" dirty="0" err="1"/>
              <a:t>rotations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Pin C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in</a:t>
            </a:r>
            <a:r>
              <a:rPr lang="de-DE" dirty="0"/>
              <a:t> A and </a:t>
            </a:r>
            <a:r>
              <a:rPr lang="de-DE" dirty="0" err="1"/>
              <a:t>pin</a:t>
            </a:r>
            <a:r>
              <a:rPr lang="de-DE" dirty="0"/>
              <a:t> B via </a:t>
            </a:r>
            <a:r>
              <a:rPr lang="de-DE" dirty="0" err="1"/>
              <a:t>sliding</a:t>
            </a:r>
            <a:r>
              <a:rPr lang="de-DE" dirty="0"/>
              <a:t> </a:t>
            </a:r>
            <a:r>
              <a:rPr lang="de-DE" dirty="0" err="1"/>
              <a:t>contacts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Pin C: Groun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Pin A and B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measured</a:t>
            </a:r>
            <a:r>
              <a:rPr lang="de-DE" dirty="0"/>
              <a:t> 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0485E8A-76F3-E25C-641D-FC84AFE3D91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85B7E9E8-902A-30C2-B232-4319038B35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A1FAB07-43BF-3759-9485-B89B9F3FCE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6602" y="3675227"/>
            <a:ext cx="5221444" cy="1986196"/>
          </a:xfrm>
          <a:prstGeom prst="rect">
            <a:avLst/>
          </a:prstGeom>
        </p:spPr>
      </p:pic>
      <p:pic>
        <p:nvPicPr>
          <p:cNvPr id="11" name="Picture 10" descr="A close-up of a microchip&#10;&#10;Description automatically generated">
            <a:extLst>
              <a:ext uri="{FF2B5EF4-FFF2-40B4-BE49-F238E27FC236}">
                <a16:creationId xmlns:a16="http://schemas.microsoft.com/office/drawing/2014/main" id="{C53C336B-2BF2-8D3F-746A-A34526775A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2375" y="1451101"/>
            <a:ext cx="2333625" cy="19621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44732C6-6C25-6B31-5879-8538300980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4759" y="4046762"/>
            <a:ext cx="5146619" cy="181561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8B9198D-DB68-8265-E284-B204B4C33EF6}"/>
              </a:ext>
            </a:extLst>
          </p:cNvPr>
          <p:cNvSpPr txBox="1"/>
          <p:nvPr/>
        </p:nvSpPr>
        <p:spPr>
          <a:xfrm>
            <a:off x="276511" y="4525850"/>
            <a:ext cx="424796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Pin A</a:t>
            </a:r>
            <a:endParaRPr lang="en-US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B4FF79-B793-FF86-9507-12E2D83765BC}"/>
              </a:ext>
            </a:extLst>
          </p:cNvPr>
          <p:cNvSpPr txBox="1"/>
          <p:nvPr/>
        </p:nvSpPr>
        <p:spPr>
          <a:xfrm>
            <a:off x="276511" y="5121251"/>
            <a:ext cx="418384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Pin B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745792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1D89F1-EA87-09BA-C5C0-9E5A7FD45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1F3B8F-B789-97BC-ACE4-13F94C05CC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EF32CA-ADE5-750D-B10B-7F9CEF635A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7E62A3-2674-89D0-7BEE-4E5725CBEE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ED type WS2812b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Red</a:t>
            </a:r>
            <a:r>
              <a:rPr lang="de-DE" dirty="0"/>
              <a:t>, Green, Blue (RGB) </a:t>
            </a:r>
            <a:r>
              <a:rPr lang="de-DE" dirty="0" err="1"/>
              <a:t>has</a:t>
            </a:r>
            <a:r>
              <a:rPr lang="de-DE" dirty="0"/>
              <a:t> a </a:t>
            </a:r>
            <a:r>
              <a:rPr lang="de-DE" dirty="0" err="1"/>
              <a:t>valu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0 – 255 (8 </a:t>
            </a:r>
            <a:r>
              <a:rPr lang="de-DE" dirty="0" err="1"/>
              <a:t>bit</a:t>
            </a:r>
            <a:r>
              <a:rPr lang="de-DE" dirty="0"/>
              <a:t>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D198430-F690-F1F5-2D76-580EAE879C2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82B59118-8812-56C2-6BE4-9D79CC4ABA7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 descr="A close-up of a strip of lights&#10;&#10;Description automatically generated">
            <a:extLst>
              <a:ext uri="{FF2B5EF4-FFF2-40B4-BE49-F238E27FC236}">
                <a16:creationId xmlns:a16="http://schemas.microsoft.com/office/drawing/2014/main" id="{C5E44842-63B6-4D0A-6CEC-5C10DB81E96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3565" b="44950"/>
          <a:stretch/>
        </p:blipFill>
        <p:spPr>
          <a:xfrm rot="10800000">
            <a:off x="2202000" y="2351467"/>
            <a:ext cx="9144000" cy="7876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8D29A28-8741-9238-0C22-FB2CEE01F878}"/>
              </a:ext>
            </a:extLst>
          </p:cNvPr>
          <p:cNvSpPr txBox="1"/>
          <p:nvPr/>
        </p:nvSpPr>
        <p:spPr>
          <a:xfrm>
            <a:off x="1444408" y="2351466"/>
            <a:ext cx="62985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Ground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814FE-8430-CA04-7399-A8F0DB21D0AF}"/>
              </a:ext>
            </a:extLst>
          </p:cNvPr>
          <p:cNvSpPr txBox="1"/>
          <p:nvPr/>
        </p:nvSpPr>
        <p:spPr>
          <a:xfrm>
            <a:off x="1558067" y="2602817"/>
            <a:ext cx="386709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Data</a:t>
            </a:r>
            <a:endParaRPr lang="en-US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5F877E-D4CC-545F-17F0-1E717A67A854}"/>
              </a:ext>
            </a:extLst>
          </p:cNvPr>
          <p:cNvSpPr txBox="1"/>
          <p:nvPr/>
        </p:nvSpPr>
        <p:spPr>
          <a:xfrm>
            <a:off x="1477494" y="2823315"/>
            <a:ext cx="563680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5 Volts</a:t>
            </a:r>
            <a:endParaRPr lang="en-US" sz="1600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711143F-9BBA-07F0-F15B-50B251A1CC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819151"/>
              </p:ext>
            </p:extLst>
          </p:nvPr>
        </p:nvGraphicFramePr>
        <p:xfrm>
          <a:off x="1444408" y="4121231"/>
          <a:ext cx="8128000" cy="1483360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2131750505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863456029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155232696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5552800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62585859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FF0000"/>
                          </a:solidFill>
                        </a:rPr>
                        <a:t>LED 1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rgbClr val="000000"/>
                          </a:solidFill>
                        </a:rPr>
                        <a:t>LED 2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D 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…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4875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R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5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…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52484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Gree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5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…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73465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l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5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…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09673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86974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0ABD1D-20BE-98C2-2A39-4A00BDA10C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3A4DB-BC81-2683-EC5A-B7B7417857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5B0E13-76AA-0A4D-73E1-AFB8C9AD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820EC9-C8E3-B913-3B3C-85D0EBB4DD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23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B2BB40-2F13-52B7-C7FA-716713940F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11041062" cy="2454162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ED type WS2812b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Each</a:t>
            </a:r>
            <a:r>
              <a:rPr lang="de-DE" dirty="0"/>
              <a:t> LED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ddressed</a:t>
            </a:r>
            <a:r>
              <a:rPr lang="de-DE" dirty="0"/>
              <a:t> </a:t>
            </a:r>
            <a:r>
              <a:rPr lang="de-DE" dirty="0" err="1"/>
              <a:t>individually</a:t>
            </a:r>
            <a:r>
              <a:rPr lang="de-DE" dirty="0"/>
              <a:t>,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onnection</a:t>
            </a:r>
            <a:endParaRPr lang="de-DE" dirty="0"/>
          </a:p>
          <a:p>
            <a:pPr marL="558900" lvl="1" indent="-342900">
              <a:lnSpc>
                <a:spcPct val="150000"/>
              </a:lnSpc>
            </a:pPr>
            <a:r>
              <a:rPr lang="de-DE" dirty="0" err="1">
                <a:sym typeface="Wingdings" panose="05000000000000000000" pitchFamily="2" charset="2"/>
              </a:rPr>
              <a:t>when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ata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ransmitte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a an LED, </a:t>
            </a:r>
            <a:r>
              <a:rPr lang="de-DE" dirty="0" err="1">
                <a:sym typeface="Wingdings" panose="05000000000000000000" pitchFamily="2" charset="2"/>
              </a:rPr>
              <a:t>which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alread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ha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l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ata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l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ata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s</a:t>
            </a:r>
            <a:r>
              <a:rPr lang="de-DE" dirty="0">
                <a:sym typeface="Wingdings" panose="05000000000000000000" pitchFamily="2" charset="2"/>
              </a:rPr>
              <a:t> send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next</a:t>
            </a:r>
            <a:r>
              <a:rPr lang="de-DE" dirty="0">
                <a:sym typeface="Wingdings" panose="05000000000000000000" pitchFamily="2" charset="2"/>
              </a:rPr>
              <a:t> LED</a:t>
            </a: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33CC7B-D44B-1232-DDBD-9252B97CD21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4318D15-25D9-B277-AC7B-FEECFE2B40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 descr="A close-up of a strip of lights&#10;&#10;Description automatically generated">
            <a:extLst>
              <a:ext uri="{FF2B5EF4-FFF2-40B4-BE49-F238E27FC236}">
                <a16:creationId xmlns:a16="http://schemas.microsoft.com/office/drawing/2014/main" id="{73CE3477-6F6A-C292-3A6A-4009D86B346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3565" b="44950"/>
          <a:stretch/>
        </p:blipFill>
        <p:spPr>
          <a:xfrm rot="10800000">
            <a:off x="2202000" y="2351467"/>
            <a:ext cx="9144000" cy="7876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30FBD11-4B93-C9F6-DA65-F71DBD28BB95}"/>
              </a:ext>
            </a:extLst>
          </p:cNvPr>
          <p:cNvSpPr txBox="1"/>
          <p:nvPr/>
        </p:nvSpPr>
        <p:spPr>
          <a:xfrm>
            <a:off x="1444408" y="2351466"/>
            <a:ext cx="62985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Ground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889A95-4253-B1CB-F655-4004CFC74F6E}"/>
              </a:ext>
            </a:extLst>
          </p:cNvPr>
          <p:cNvSpPr txBox="1"/>
          <p:nvPr/>
        </p:nvSpPr>
        <p:spPr>
          <a:xfrm>
            <a:off x="1558067" y="2602817"/>
            <a:ext cx="39844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b="1" dirty="0"/>
              <a:t>Data</a:t>
            </a:r>
            <a:endParaRPr lang="en-US" sz="16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B819F6-C4FB-65DB-4372-08943E510B4A}"/>
              </a:ext>
            </a:extLst>
          </p:cNvPr>
          <p:cNvSpPr txBox="1"/>
          <p:nvPr/>
        </p:nvSpPr>
        <p:spPr>
          <a:xfrm>
            <a:off x="1477494" y="2823315"/>
            <a:ext cx="563680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5 Volt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333192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1063B4-188F-5CF5-B1B8-27DFBD06DB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7F5EC-DDD2-8034-9688-6675D0590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840DD1-2877-FF3B-0936-4DBC076C73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AB2F85-9719-1FC1-2EB2-42888ADD9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24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DD6DCD-E2A8-98BD-5228-38D46E4817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11041062" cy="2454162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ED type WS2812b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Each</a:t>
            </a:r>
            <a:r>
              <a:rPr lang="de-DE" dirty="0"/>
              <a:t> LED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ddressed</a:t>
            </a:r>
            <a:r>
              <a:rPr lang="de-DE" dirty="0"/>
              <a:t> </a:t>
            </a:r>
            <a:r>
              <a:rPr lang="de-DE" dirty="0" err="1"/>
              <a:t>individually</a:t>
            </a:r>
            <a:r>
              <a:rPr lang="de-DE" dirty="0"/>
              <a:t>,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onnection</a:t>
            </a: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D8ECBA-44BB-A505-A3ED-80DCA23179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9EF0B28-28C4-1756-7FA1-72B8BA13238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 descr="A close-up of a strip of lights&#10;&#10;Description automatically generated">
            <a:extLst>
              <a:ext uri="{FF2B5EF4-FFF2-40B4-BE49-F238E27FC236}">
                <a16:creationId xmlns:a16="http://schemas.microsoft.com/office/drawing/2014/main" id="{79CF27A2-3C31-BBF8-9F23-0A38102FD6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3565" b="44950"/>
          <a:stretch/>
        </p:blipFill>
        <p:spPr>
          <a:xfrm rot="10800000">
            <a:off x="2202000" y="2351467"/>
            <a:ext cx="9144000" cy="7876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BD0D816-7F6F-70CE-132F-0795D8DE1C0D}"/>
              </a:ext>
            </a:extLst>
          </p:cNvPr>
          <p:cNvSpPr txBox="1"/>
          <p:nvPr/>
        </p:nvSpPr>
        <p:spPr>
          <a:xfrm>
            <a:off x="1444408" y="2351466"/>
            <a:ext cx="62985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Ground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74CCA4-7FED-77D0-2132-21606FC79A34}"/>
              </a:ext>
            </a:extLst>
          </p:cNvPr>
          <p:cNvSpPr txBox="1"/>
          <p:nvPr/>
        </p:nvSpPr>
        <p:spPr>
          <a:xfrm>
            <a:off x="1558067" y="2602817"/>
            <a:ext cx="39844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b="1" dirty="0"/>
              <a:t>Data</a:t>
            </a:r>
            <a:endParaRPr lang="en-US" sz="16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E07D54-D2FA-1757-FCF8-49E83B11E828}"/>
              </a:ext>
            </a:extLst>
          </p:cNvPr>
          <p:cNvSpPr txBox="1"/>
          <p:nvPr/>
        </p:nvSpPr>
        <p:spPr>
          <a:xfrm>
            <a:off x="1477494" y="2823315"/>
            <a:ext cx="563680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5 Volts</a:t>
            </a:r>
            <a:endParaRPr 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44925D2-3670-572A-5FD7-5A1508B2C60D}"/>
              </a:ext>
            </a:extLst>
          </p:cNvPr>
          <p:cNvSpPr/>
          <p:nvPr/>
        </p:nvSpPr>
        <p:spPr>
          <a:xfrm>
            <a:off x="2800466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1</a:t>
            </a:r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C01B5BD-4A6A-07FB-2822-7A7FA3DB2AFE}"/>
              </a:ext>
            </a:extLst>
          </p:cNvPr>
          <p:cNvCxnSpPr/>
          <p:nvPr/>
        </p:nvCxnSpPr>
        <p:spPr>
          <a:xfrm>
            <a:off x="2139594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187C840F-07F1-EED0-A784-79FDAEE40296}"/>
              </a:ext>
            </a:extLst>
          </p:cNvPr>
          <p:cNvSpPr/>
          <p:nvPr/>
        </p:nvSpPr>
        <p:spPr>
          <a:xfrm>
            <a:off x="4547713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2</a:t>
            </a:r>
            <a:endParaRPr lang="en-US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32B1E247-80A6-3810-D6BE-647461BD76E6}"/>
              </a:ext>
            </a:extLst>
          </p:cNvPr>
          <p:cNvCxnSpPr/>
          <p:nvPr/>
        </p:nvCxnSpPr>
        <p:spPr>
          <a:xfrm>
            <a:off x="388684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F8D5551B-12D5-9975-F871-38F08E52D7B2}"/>
              </a:ext>
            </a:extLst>
          </p:cNvPr>
          <p:cNvSpPr/>
          <p:nvPr/>
        </p:nvSpPr>
        <p:spPr>
          <a:xfrm>
            <a:off x="6297337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3</a:t>
            </a:r>
            <a:endParaRPr lang="en-US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675189D-3037-E459-D9A6-0330C0EB4832}"/>
              </a:ext>
            </a:extLst>
          </p:cNvPr>
          <p:cNvCxnSpPr/>
          <p:nvPr/>
        </p:nvCxnSpPr>
        <p:spPr>
          <a:xfrm>
            <a:off x="5636465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3A50BFEE-15E5-AFB3-EF39-446C249206A7}"/>
              </a:ext>
            </a:extLst>
          </p:cNvPr>
          <p:cNvCxnSpPr/>
          <p:nvPr/>
        </p:nvCxnSpPr>
        <p:spPr>
          <a:xfrm>
            <a:off x="735746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B7854436-7464-5882-5E23-29DE1660BE8A}"/>
              </a:ext>
            </a:extLst>
          </p:cNvPr>
          <p:cNvSpPr txBox="1"/>
          <p:nvPr/>
        </p:nvSpPr>
        <p:spPr>
          <a:xfrm>
            <a:off x="1549974" y="4561019"/>
            <a:ext cx="39844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b="1" dirty="0"/>
              <a:t>Data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7406826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FB27AC-4A6B-4B0E-4DBD-546C7774B4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3A540-173D-558D-CF60-C62EFEEAA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B2706B-7490-2981-43BB-4ED98514F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2A6FE6-F62D-BD97-B958-047FCEF57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25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21FFA-57B0-6970-C9F5-EE7C617FF2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11041062" cy="2454162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ED type WS2812b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Each</a:t>
            </a:r>
            <a:r>
              <a:rPr lang="de-DE" dirty="0"/>
              <a:t> LED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ddressed</a:t>
            </a:r>
            <a:r>
              <a:rPr lang="de-DE" dirty="0"/>
              <a:t> </a:t>
            </a:r>
            <a:r>
              <a:rPr lang="de-DE" dirty="0" err="1"/>
              <a:t>individually</a:t>
            </a:r>
            <a:r>
              <a:rPr lang="de-DE" dirty="0"/>
              <a:t>,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onnection</a:t>
            </a: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74FB8AD-957F-AF0D-453D-356279F81D8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855BE1D-8DEC-7419-88A2-AB992425D1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 descr="A close-up of a strip of lights&#10;&#10;Description automatically generated">
            <a:extLst>
              <a:ext uri="{FF2B5EF4-FFF2-40B4-BE49-F238E27FC236}">
                <a16:creationId xmlns:a16="http://schemas.microsoft.com/office/drawing/2014/main" id="{8EADC08A-1D5D-43B8-269E-BD3DE52A43C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3565" b="44950"/>
          <a:stretch/>
        </p:blipFill>
        <p:spPr>
          <a:xfrm rot="10800000">
            <a:off x="2202000" y="2351467"/>
            <a:ext cx="9144000" cy="7876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014332D-A488-6F10-9FFC-9AF1895E95C1}"/>
              </a:ext>
            </a:extLst>
          </p:cNvPr>
          <p:cNvSpPr txBox="1"/>
          <p:nvPr/>
        </p:nvSpPr>
        <p:spPr>
          <a:xfrm>
            <a:off x="1444408" y="2351466"/>
            <a:ext cx="62985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Ground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536B2C-7BE5-4E69-471B-AE303D6CAF53}"/>
              </a:ext>
            </a:extLst>
          </p:cNvPr>
          <p:cNvSpPr txBox="1"/>
          <p:nvPr/>
        </p:nvSpPr>
        <p:spPr>
          <a:xfrm>
            <a:off x="1558067" y="2602817"/>
            <a:ext cx="39844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b="1" dirty="0"/>
              <a:t>Data</a:t>
            </a:r>
            <a:endParaRPr lang="en-US" sz="16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8591FF-F670-2008-9680-A5EAE02D2FD9}"/>
              </a:ext>
            </a:extLst>
          </p:cNvPr>
          <p:cNvSpPr txBox="1"/>
          <p:nvPr/>
        </p:nvSpPr>
        <p:spPr>
          <a:xfrm>
            <a:off x="1477494" y="2823315"/>
            <a:ext cx="563680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5 Volts</a:t>
            </a:r>
            <a:endParaRPr 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96D34B-BC76-8AB1-5FBF-B00C25E75B6F}"/>
              </a:ext>
            </a:extLst>
          </p:cNvPr>
          <p:cNvSpPr/>
          <p:nvPr/>
        </p:nvSpPr>
        <p:spPr>
          <a:xfrm>
            <a:off x="2800466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1</a:t>
            </a:r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52F54E5-5F05-64D1-C02A-92DC2A44B22F}"/>
              </a:ext>
            </a:extLst>
          </p:cNvPr>
          <p:cNvCxnSpPr/>
          <p:nvPr/>
        </p:nvCxnSpPr>
        <p:spPr>
          <a:xfrm>
            <a:off x="2139594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0B642965-2C52-9D16-53E9-86FD00B49390}"/>
              </a:ext>
            </a:extLst>
          </p:cNvPr>
          <p:cNvSpPr/>
          <p:nvPr/>
        </p:nvSpPr>
        <p:spPr>
          <a:xfrm>
            <a:off x="4547713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2</a:t>
            </a:r>
            <a:endParaRPr lang="en-US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C3F1B23-5F99-04C7-E935-7F05C73D9F95}"/>
              </a:ext>
            </a:extLst>
          </p:cNvPr>
          <p:cNvCxnSpPr/>
          <p:nvPr/>
        </p:nvCxnSpPr>
        <p:spPr>
          <a:xfrm>
            <a:off x="388684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1BCD22EF-CDB6-FDB0-41E1-2C2B0F5198F9}"/>
              </a:ext>
            </a:extLst>
          </p:cNvPr>
          <p:cNvSpPr/>
          <p:nvPr/>
        </p:nvSpPr>
        <p:spPr>
          <a:xfrm>
            <a:off x="6297337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3</a:t>
            </a:r>
            <a:endParaRPr lang="en-US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75D7695E-B603-7BAD-9348-14650BFA9A77}"/>
              </a:ext>
            </a:extLst>
          </p:cNvPr>
          <p:cNvCxnSpPr/>
          <p:nvPr/>
        </p:nvCxnSpPr>
        <p:spPr>
          <a:xfrm>
            <a:off x="5636465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3360E80-3764-D73B-688E-C882687D78BA}"/>
              </a:ext>
            </a:extLst>
          </p:cNvPr>
          <p:cNvCxnSpPr/>
          <p:nvPr/>
        </p:nvCxnSpPr>
        <p:spPr>
          <a:xfrm>
            <a:off x="735746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06FC3F2-5075-1B1B-51A0-E3F8AFC38949}"/>
              </a:ext>
            </a:extLst>
          </p:cNvPr>
          <p:cNvSpPr txBox="1"/>
          <p:nvPr/>
        </p:nvSpPr>
        <p:spPr>
          <a:xfrm>
            <a:off x="1439931" y="4358657"/>
            <a:ext cx="54341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255</a:t>
            </a:r>
          </a:p>
          <a:p>
            <a:pPr algn="l"/>
            <a:r>
              <a:rPr lang="de-DE" sz="1600" dirty="0"/>
              <a:t>G: 255</a:t>
            </a:r>
          </a:p>
          <a:p>
            <a:pPr algn="l"/>
            <a:r>
              <a:rPr lang="de-DE" sz="1600" dirty="0"/>
              <a:t>B: 255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72438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77AAE3-90DC-70AD-610D-3670FB6B5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FE0A8-3BF7-1E19-95D5-D418B5E19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6D6CCF-8A85-B574-D340-C214773CE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71A3BC-E823-81D0-6DB1-0E3F53151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26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D59F9B-5833-DE04-2274-4CFB5566AF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11041062" cy="2454162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ED type WS2812b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Each</a:t>
            </a:r>
            <a:r>
              <a:rPr lang="de-DE" dirty="0"/>
              <a:t> LED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ddressed</a:t>
            </a:r>
            <a:r>
              <a:rPr lang="de-DE" dirty="0"/>
              <a:t> </a:t>
            </a:r>
            <a:r>
              <a:rPr lang="de-DE" dirty="0" err="1"/>
              <a:t>individually</a:t>
            </a:r>
            <a:r>
              <a:rPr lang="de-DE" dirty="0"/>
              <a:t>,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onnection</a:t>
            </a: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EA240E4-C4E5-FAF9-7E09-60E15A15B18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CE79D4E-6E97-A62D-4FBA-DC3AD5E171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 descr="A close-up of a strip of lights&#10;&#10;Description automatically generated">
            <a:extLst>
              <a:ext uri="{FF2B5EF4-FFF2-40B4-BE49-F238E27FC236}">
                <a16:creationId xmlns:a16="http://schemas.microsoft.com/office/drawing/2014/main" id="{AEF03077-6A7F-8DAA-A0E5-EE35C3F1BA8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3565" b="44950"/>
          <a:stretch/>
        </p:blipFill>
        <p:spPr>
          <a:xfrm rot="10800000">
            <a:off x="2202000" y="2351467"/>
            <a:ext cx="9144000" cy="7876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571ABB0-D24F-89A5-CC17-AD30AF27D59B}"/>
              </a:ext>
            </a:extLst>
          </p:cNvPr>
          <p:cNvSpPr txBox="1"/>
          <p:nvPr/>
        </p:nvSpPr>
        <p:spPr>
          <a:xfrm>
            <a:off x="1444408" y="2351466"/>
            <a:ext cx="62985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Ground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4962DB4-8E52-5885-3C28-EE6080840092}"/>
              </a:ext>
            </a:extLst>
          </p:cNvPr>
          <p:cNvSpPr txBox="1"/>
          <p:nvPr/>
        </p:nvSpPr>
        <p:spPr>
          <a:xfrm>
            <a:off x="1558067" y="2602817"/>
            <a:ext cx="39844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b="1" dirty="0"/>
              <a:t>Data</a:t>
            </a:r>
            <a:endParaRPr lang="en-US" sz="16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C404B2-1690-A470-2B1C-B4462A525E11}"/>
              </a:ext>
            </a:extLst>
          </p:cNvPr>
          <p:cNvSpPr txBox="1"/>
          <p:nvPr/>
        </p:nvSpPr>
        <p:spPr>
          <a:xfrm>
            <a:off x="1477494" y="2823315"/>
            <a:ext cx="563680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5 Volts</a:t>
            </a:r>
            <a:endParaRPr 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7D81C9E-1499-0C3A-596B-F496D265F858}"/>
              </a:ext>
            </a:extLst>
          </p:cNvPr>
          <p:cNvSpPr/>
          <p:nvPr/>
        </p:nvSpPr>
        <p:spPr>
          <a:xfrm>
            <a:off x="2800466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1</a:t>
            </a:r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5D1D9A6-9122-3A33-6A1F-A37323EE16B4}"/>
              </a:ext>
            </a:extLst>
          </p:cNvPr>
          <p:cNvCxnSpPr/>
          <p:nvPr/>
        </p:nvCxnSpPr>
        <p:spPr>
          <a:xfrm>
            <a:off x="2139594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E680B89F-48C1-3595-5A6C-2633074350CB}"/>
              </a:ext>
            </a:extLst>
          </p:cNvPr>
          <p:cNvSpPr/>
          <p:nvPr/>
        </p:nvSpPr>
        <p:spPr>
          <a:xfrm>
            <a:off x="4547713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2</a:t>
            </a:r>
            <a:endParaRPr lang="en-US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9218191-158B-D3BC-BFB9-0AEADB862EE8}"/>
              </a:ext>
            </a:extLst>
          </p:cNvPr>
          <p:cNvCxnSpPr/>
          <p:nvPr/>
        </p:nvCxnSpPr>
        <p:spPr>
          <a:xfrm>
            <a:off x="388684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D71BEC12-A771-955A-33CB-BF68276F0FCC}"/>
              </a:ext>
            </a:extLst>
          </p:cNvPr>
          <p:cNvSpPr/>
          <p:nvPr/>
        </p:nvSpPr>
        <p:spPr>
          <a:xfrm>
            <a:off x="6297337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3</a:t>
            </a:r>
            <a:endParaRPr lang="en-US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64F0DAD-A4F7-E573-FF8F-0DD337279D82}"/>
              </a:ext>
            </a:extLst>
          </p:cNvPr>
          <p:cNvCxnSpPr/>
          <p:nvPr/>
        </p:nvCxnSpPr>
        <p:spPr>
          <a:xfrm>
            <a:off x="5636465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EB1E5FD-DB50-5F7E-CDF6-40969515F5DB}"/>
              </a:ext>
            </a:extLst>
          </p:cNvPr>
          <p:cNvCxnSpPr/>
          <p:nvPr/>
        </p:nvCxnSpPr>
        <p:spPr>
          <a:xfrm>
            <a:off x="735746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8C696F4-9167-1F2F-D947-61B4195064A2}"/>
              </a:ext>
            </a:extLst>
          </p:cNvPr>
          <p:cNvSpPr txBox="1"/>
          <p:nvPr/>
        </p:nvSpPr>
        <p:spPr>
          <a:xfrm>
            <a:off x="2995010" y="5278832"/>
            <a:ext cx="54341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255</a:t>
            </a:r>
          </a:p>
          <a:p>
            <a:pPr algn="l"/>
            <a:r>
              <a:rPr lang="de-DE" sz="1600" dirty="0"/>
              <a:t>G: 255</a:t>
            </a:r>
          </a:p>
          <a:p>
            <a:pPr algn="l"/>
            <a:r>
              <a:rPr lang="de-DE" sz="1600" dirty="0"/>
              <a:t>B: 255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75122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C76CFC-E8B5-BD3A-9591-855C5F9F40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7D48AA-08A9-C71E-0076-2B76D7E07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418F85-63B3-CF17-CBF0-001D4205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7B9F9F-4079-D810-70CC-7F2DA6494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27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29475D-E256-39ED-E8F2-724DCD156F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11041062" cy="2454162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ED type WS2812b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Each</a:t>
            </a:r>
            <a:r>
              <a:rPr lang="de-DE" dirty="0"/>
              <a:t> LED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ddressed</a:t>
            </a:r>
            <a:r>
              <a:rPr lang="de-DE" dirty="0"/>
              <a:t> </a:t>
            </a:r>
            <a:r>
              <a:rPr lang="de-DE" dirty="0" err="1"/>
              <a:t>individually</a:t>
            </a:r>
            <a:r>
              <a:rPr lang="de-DE" dirty="0"/>
              <a:t>,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onnection</a:t>
            </a: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556523A-B322-961F-DCCB-A43C2AEF0BC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CB1ED745-C193-CFAC-6EF4-29A3A2CD437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 descr="A close-up of a strip of lights&#10;&#10;Description automatically generated">
            <a:extLst>
              <a:ext uri="{FF2B5EF4-FFF2-40B4-BE49-F238E27FC236}">
                <a16:creationId xmlns:a16="http://schemas.microsoft.com/office/drawing/2014/main" id="{A4BD8CDE-532F-A9F5-A4F6-31DB9EB96AA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3565" b="44950"/>
          <a:stretch/>
        </p:blipFill>
        <p:spPr>
          <a:xfrm rot="10800000">
            <a:off x="2202000" y="2351467"/>
            <a:ext cx="9144000" cy="7876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A6EA273-5626-C476-E459-98E978EC6E15}"/>
              </a:ext>
            </a:extLst>
          </p:cNvPr>
          <p:cNvSpPr txBox="1"/>
          <p:nvPr/>
        </p:nvSpPr>
        <p:spPr>
          <a:xfrm>
            <a:off x="1444408" y="2351466"/>
            <a:ext cx="62985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Ground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9B892D-6C3F-E33E-EF3A-BEE55EB99150}"/>
              </a:ext>
            </a:extLst>
          </p:cNvPr>
          <p:cNvSpPr txBox="1"/>
          <p:nvPr/>
        </p:nvSpPr>
        <p:spPr>
          <a:xfrm>
            <a:off x="1558067" y="2602817"/>
            <a:ext cx="39844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b="1" dirty="0"/>
              <a:t>Data</a:t>
            </a:r>
            <a:endParaRPr lang="en-US" sz="16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CEC62D-05EF-2D8C-2C22-E0A7FFF0F02A}"/>
              </a:ext>
            </a:extLst>
          </p:cNvPr>
          <p:cNvSpPr txBox="1"/>
          <p:nvPr/>
        </p:nvSpPr>
        <p:spPr>
          <a:xfrm>
            <a:off x="1477494" y="2823315"/>
            <a:ext cx="563680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5 Volts</a:t>
            </a:r>
            <a:endParaRPr 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F43484-1E75-0628-0B30-BC2A038C08EC}"/>
              </a:ext>
            </a:extLst>
          </p:cNvPr>
          <p:cNvSpPr/>
          <p:nvPr/>
        </p:nvSpPr>
        <p:spPr>
          <a:xfrm>
            <a:off x="2800466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1</a:t>
            </a:r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0E06E5B-5885-1B40-2D2F-0434D85EA817}"/>
              </a:ext>
            </a:extLst>
          </p:cNvPr>
          <p:cNvCxnSpPr/>
          <p:nvPr/>
        </p:nvCxnSpPr>
        <p:spPr>
          <a:xfrm>
            <a:off x="2139594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8CB87CE-86F9-D550-97D8-0DDAB39A425E}"/>
              </a:ext>
            </a:extLst>
          </p:cNvPr>
          <p:cNvSpPr/>
          <p:nvPr/>
        </p:nvSpPr>
        <p:spPr>
          <a:xfrm>
            <a:off x="4547713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2</a:t>
            </a:r>
            <a:endParaRPr lang="en-US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3B923FD-B40B-9530-BFF3-F45333953144}"/>
              </a:ext>
            </a:extLst>
          </p:cNvPr>
          <p:cNvCxnSpPr/>
          <p:nvPr/>
        </p:nvCxnSpPr>
        <p:spPr>
          <a:xfrm>
            <a:off x="388684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B24805C3-BE8D-1BFD-D7F2-98D4CA63A056}"/>
              </a:ext>
            </a:extLst>
          </p:cNvPr>
          <p:cNvSpPr/>
          <p:nvPr/>
        </p:nvSpPr>
        <p:spPr>
          <a:xfrm>
            <a:off x="6297337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3</a:t>
            </a:r>
            <a:endParaRPr lang="en-US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F1E2CCA-88EA-1E69-4ED2-85452F11CFDD}"/>
              </a:ext>
            </a:extLst>
          </p:cNvPr>
          <p:cNvCxnSpPr/>
          <p:nvPr/>
        </p:nvCxnSpPr>
        <p:spPr>
          <a:xfrm>
            <a:off x="5636465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FBEAA79-44A9-0EDB-C4A0-BFA2DCB3F8F5}"/>
              </a:ext>
            </a:extLst>
          </p:cNvPr>
          <p:cNvCxnSpPr/>
          <p:nvPr/>
        </p:nvCxnSpPr>
        <p:spPr>
          <a:xfrm>
            <a:off x="735746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FD8710FC-7321-8975-D24A-B0248C01215C}"/>
              </a:ext>
            </a:extLst>
          </p:cNvPr>
          <p:cNvSpPr txBox="1"/>
          <p:nvPr/>
        </p:nvSpPr>
        <p:spPr>
          <a:xfrm>
            <a:off x="2995010" y="5278832"/>
            <a:ext cx="54341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255</a:t>
            </a:r>
          </a:p>
          <a:p>
            <a:pPr algn="l"/>
            <a:r>
              <a:rPr lang="de-DE" sz="1600" dirty="0"/>
              <a:t>G: 255</a:t>
            </a:r>
          </a:p>
          <a:p>
            <a:pPr algn="l"/>
            <a:r>
              <a:rPr lang="de-DE" sz="1600" dirty="0"/>
              <a:t>B: 255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7CCE72-2129-2E57-0DCA-16BF48387F4A}"/>
              </a:ext>
            </a:extLst>
          </p:cNvPr>
          <p:cNvSpPr txBox="1"/>
          <p:nvPr/>
        </p:nvSpPr>
        <p:spPr>
          <a:xfrm>
            <a:off x="1439931" y="4358657"/>
            <a:ext cx="33502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0</a:t>
            </a:r>
          </a:p>
          <a:p>
            <a:pPr algn="l"/>
            <a:r>
              <a:rPr lang="de-DE" sz="1600" dirty="0"/>
              <a:t>G: 0</a:t>
            </a:r>
          </a:p>
          <a:p>
            <a:pPr algn="l"/>
            <a:r>
              <a:rPr lang="de-DE" sz="1600" dirty="0"/>
              <a:t>B: 0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036734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16B4A4-D0DA-2C8C-89D7-999FC13B4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620DC-60B4-66BD-51BC-C4CD1A4F0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10AC22-BC80-F467-AB74-4672E905C4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5A144E-96D9-07F0-9407-F8D910D9D2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28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8DAA54-DCD9-F86F-5CD6-348FFFA243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11041062" cy="2454162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ED type WS2812b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Each</a:t>
            </a:r>
            <a:r>
              <a:rPr lang="de-DE" dirty="0"/>
              <a:t> LED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ddressed</a:t>
            </a:r>
            <a:r>
              <a:rPr lang="de-DE" dirty="0"/>
              <a:t> </a:t>
            </a:r>
            <a:r>
              <a:rPr lang="de-DE" dirty="0" err="1"/>
              <a:t>individually</a:t>
            </a:r>
            <a:r>
              <a:rPr lang="de-DE" dirty="0"/>
              <a:t>,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onnection</a:t>
            </a: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685410E-CDD2-C964-01E3-FEFE04F4D7C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3AB8C8F5-81F9-8D40-3A2B-7B0D4A10C3B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 descr="A close-up of a strip of lights&#10;&#10;Description automatically generated">
            <a:extLst>
              <a:ext uri="{FF2B5EF4-FFF2-40B4-BE49-F238E27FC236}">
                <a16:creationId xmlns:a16="http://schemas.microsoft.com/office/drawing/2014/main" id="{7F7B40FA-F121-B28E-A047-AADA6E806B7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3565" b="44950"/>
          <a:stretch/>
        </p:blipFill>
        <p:spPr>
          <a:xfrm rot="10800000">
            <a:off x="2202000" y="2351467"/>
            <a:ext cx="9144000" cy="7876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C8016A3-8A46-1896-42AB-D33BA3C10834}"/>
              </a:ext>
            </a:extLst>
          </p:cNvPr>
          <p:cNvSpPr txBox="1"/>
          <p:nvPr/>
        </p:nvSpPr>
        <p:spPr>
          <a:xfrm>
            <a:off x="1444408" y="2351466"/>
            <a:ext cx="62985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Ground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0AB7FB-C5F4-1C40-52D8-DC8E7E532178}"/>
              </a:ext>
            </a:extLst>
          </p:cNvPr>
          <p:cNvSpPr txBox="1"/>
          <p:nvPr/>
        </p:nvSpPr>
        <p:spPr>
          <a:xfrm>
            <a:off x="1558067" y="2602817"/>
            <a:ext cx="39844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b="1" dirty="0"/>
              <a:t>Data</a:t>
            </a:r>
            <a:endParaRPr lang="en-US" sz="16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B736517-6C8C-378F-661B-2ED2E8F4CE1C}"/>
              </a:ext>
            </a:extLst>
          </p:cNvPr>
          <p:cNvSpPr txBox="1"/>
          <p:nvPr/>
        </p:nvSpPr>
        <p:spPr>
          <a:xfrm>
            <a:off x="1477494" y="2823315"/>
            <a:ext cx="563680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5 Volts</a:t>
            </a:r>
            <a:endParaRPr 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F450E8-6D10-E340-CE81-3CE4A9D3C9FB}"/>
              </a:ext>
            </a:extLst>
          </p:cNvPr>
          <p:cNvSpPr/>
          <p:nvPr/>
        </p:nvSpPr>
        <p:spPr>
          <a:xfrm>
            <a:off x="2800466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1</a:t>
            </a:r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6FB0AECC-A7AF-1DB3-9F7C-F8399C48DFD6}"/>
              </a:ext>
            </a:extLst>
          </p:cNvPr>
          <p:cNvCxnSpPr/>
          <p:nvPr/>
        </p:nvCxnSpPr>
        <p:spPr>
          <a:xfrm>
            <a:off x="2139594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66BA0A38-CB2B-BBFE-BF8B-438286CE8C85}"/>
              </a:ext>
            </a:extLst>
          </p:cNvPr>
          <p:cNvSpPr/>
          <p:nvPr/>
        </p:nvSpPr>
        <p:spPr>
          <a:xfrm>
            <a:off x="4547713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2</a:t>
            </a:r>
            <a:endParaRPr lang="en-US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046D657-A488-2389-0367-E7890D23C507}"/>
              </a:ext>
            </a:extLst>
          </p:cNvPr>
          <p:cNvCxnSpPr/>
          <p:nvPr/>
        </p:nvCxnSpPr>
        <p:spPr>
          <a:xfrm>
            <a:off x="388684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99BA4429-6A19-5914-AC43-EFF66F1F9F66}"/>
              </a:ext>
            </a:extLst>
          </p:cNvPr>
          <p:cNvSpPr/>
          <p:nvPr/>
        </p:nvSpPr>
        <p:spPr>
          <a:xfrm>
            <a:off x="6297337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3</a:t>
            </a:r>
            <a:endParaRPr lang="en-US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382F664-CB84-7A2D-C498-8D19C2399E36}"/>
              </a:ext>
            </a:extLst>
          </p:cNvPr>
          <p:cNvCxnSpPr/>
          <p:nvPr/>
        </p:nvCxnSpPr>
        <p:spPr>
          <a:xfrm>
            <a:off x="5636465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EAAB0A1-1D4A-ECC2-A8D1-B27B453CDA20}"/>
              </a:ext>
            </a:extLst>
          </p:cNvPr>
          <p:cNvCxnSpPr/>
          <p:nvPr/>
        </p:nvCxnSpPr>
        <p:spPr>
          <a:xfrm>
            <a:off x="735746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F46D2E06-4238-23B1-D61D-8D060BC84F10}"/>
              </a:ext>
            </a:extLst>
          </p:cNvPr>
          <p:cNvSpPr txBox="1"/>
          <p:nvPr/>
        </p:nvSpPr>
        <p:spPr>
          <a:xfrm>
            <a:off x="4742257" y="5278832"/>
            <a:ext cx="54341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255</a:t>
            </a:r>
          </a:p>
          <a:p>
            <a:pPr algn="l"/>
            <a:r>
              <a:rPr lang="de-DE" sz="1600" dirty="0"/>
              <a:t>G: 255</a:t>
            </a:r>
          </a:p>
          <a:p>
            <a:pPr algn="l"/>
            <a:r>
              <a:rPr lang="de-DE" sz="1600" dirty="0"/>
              <a:t>B: 255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47241DF-69B8-B8C1-9E6F-5BC49B4CAE61}"/>
              </a:ext>
            </a:extLst>
          </p:cNvPr>
          <p:cNvSpPr txBox="1"/>
          <p:nvPr/>
        </p:nvSpPr>
        <p:spPr>
          <a:xfrm>
            <a:off x="2988809" y="5278832"/>
            <a:ext cx="33502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0</a:t>
            </a:r>
          </a:p>
          <a:p>
            <a:pPr algn="l"/>
            <a:r>
              <a:rPr lang="de-DE" sz="1600" dirty="0"/>
              <a:t>G: 0</a:t>
            </a:r>
          </a:p>
          <a:p>
            <a:pPr algn="l"/>
            <a:r>
              <a:rPr lang="de-DE" sz="1600" dirty="0"/>
              <a:t>B: 0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1809977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F35F5D-FA3C-4869-F103-74D34E0AD9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3F153A-DE55-994E-DD63-39159FB9E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4D15D7-952D-3C41-493D-4133798D4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B9138-42CA-9603-C85A-600020EA3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29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881391-0D1C-7200-4682-FD0D4DA59A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11041062" cy="2454162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ED type WS2812b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Each</a:t>
            </a:r>
            <a:r>
              <a:rPr lang="de-DE" dirty="0"/>
              <a:t> LED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ddressed</a:t>
            </a:r>
            <a:r>
              <a:rPr lang="de-DE" dirty="0"/>
              <a:t> </a:t>
            </a:r>
            <a:r>
              <a:rPr lang="de-DE" dirty="0" err="1"/>
              <a:t>individually</a:t>
            </a:r>
            <a:r>
              <a:rPr lang="de-DE" dirty="0"/>
              <a:t>,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onnection</a:t>
            </a: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E00476-E8E1-ABEF-0810-4F7BF52B5EA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A3B043A-2946-D9C4-D487-06658DBB2B6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 descr="A close-up of a strip of lights&#10;&#10;Description automatically generated">
            <a:extLst>
              <a:ext uri="{FF2B5EF4-FFF2-40B4-BE49-F238E27FC236}">
                <a16:creationId xmlns:a16="http://schemas.microsoft.com/office/drawing/2014/main" id="{45386ACA-1002-EA49-50EA-45A525326FF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3565" b="44950"/>
          <a:stretch/>
        </p:blipFill>
        <p:spPr>
          <a:xfrm rot="10800000">
            <a:off x="2202000" y="2351467"/>
            <a:ext cx="9144000" cy="7876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C7E355B-6453-7175-2CA4-6BB33C91675B}"/>
              </a:ext>
            </a:extLst>
          </p:cNvPr>
          <p:cNvSpPr txBox="1"/>
          <p:nvPr/>
        </p:nvSpPr>
        <p:spPr>
          <a:xfrm>
            <a:off x="1444408" y="2351466"/>
            <a:ext cx="62985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Ground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171585-0802-6FA4-3D01-FF280D54370F}"/>
              </a:ext>
            </a:extLst>
          </p:cNvPr>
          <p:cNvSpPr txBox="1"/>
          <p:nvPr/>
        </p:nvSpPr>
        <p:spPr>
          <a:xfrm>
            <a:off x="1558067" y="2602817"/>
            <a:ext cx="39844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b="1" dirty="0"/>
              <a:t>Data</a:t>
            </a:r>
            <a:endParaRPr lang="en-US" sz="16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D9E80B4-3E4E-70DC-3910-213760064A1F}"/>
              </a:ext>
            </a:extLst>
          </p:cNvPr>
          <p:cNvSpPr txBox="1"/>
          <p:nvPr/>
        </p:nvSpPr>
        <p:spPr>
          <a:xfrm>
            <a:off x="1477494" y="2823315"/>
            <a:ext cx="563680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5 Volts</a:t>
            </a:r>
            <a:endParaRPr 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0093447-C6F6-533A-2080-AB76DABDBB3A}"/>
              </a:ext>
            </a:extLst>
          </p:cNvPr>
          <p:cNvSpPr/>
          <p:nvPr/>
        </p:nvSpPr>
        <p:spPr>
          <a:xfrm>
            <a:off x="2800466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1</a:t>
            </a:r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73B0FBE-07DD-B122-7FAF-1DEF060B3D7A}"/>
              </a:ext>
            </a:extLst>
          </p:cNvPr>
          <p:cNvCxnSpPr/>
          <p:nvPr/>
        </p:nvCxnSpPr>
        <p:spPr>
          <a:xfrm>
            <a:off x="2139594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51262139-A5E9-D2D5-25C6-5DEE9CD684A8}"/>
              </a:ext>
            </a:extLst>
          </p:cNvPr>
          <p:cNvSpPr/>
          <p:nvPr/>
        </p:nvSpPr>
        <p:spPr>
          <a:xfrm>
            <a:off x="4547713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2</a:t>
            </a:r>
            <a:endParaRPr lang="en-US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4883049-C0FC-3E50-DC47-81C9AFAEE98E}"/>
              </a:ext>
            </a:extLst>
          </p:cNvPr>
          <p:cNvCxnSpPr/>
          <p:nvPr/>
        </p:nvCxnSpPr>
        <p:spPr>
          <a:xfrm>
            <a:off x="388684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F63CA593-E22A-FA5E-63F3-656B8D2974F2}"/>
              </a:ext>
            </a:extLst>
          </p:cNvPr>
          <p:cNvSpPr/>
          <p:nvPr/>
        </p:nvSpPr>
        <p:spPr>
          <a:xfrm>
            <a:off x="6297337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3</a:t>
            </a:r>
            <a:endParaRPr lang="en-US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AFC1A25-F575-A681-EE1A-66E1AE42600E}"/>
              </a:ext>
            </a:extLst>
          </p:cNvPr>
          <p:cNvCxnSpPr/>
          <p:nvPr/>
        </p:nvCxnSpPr>
        <p:spPr>
          <a:xfrm>
            <a:off x="5636465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E8D249E7-B709-BFDF-1102-8F776E9B9249}"/>
              </a:ext>
            </a:extLst>
          </p:cNvPr>
          <p:cNvCxnSpPr/>
          <p:nvPr/>
        </p:nvCxnSpPr>
        <p:spPr>
          <a:xfrm>
            <a:off x="735746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FF4B76D-F43D-CDED-FB74-C9077182BC0B}"/>
              </a:ext>
            </a:extLst>
          </p:cNvPr>
          <p:cNvSpPr txBox="1"/>
          <p:nvPr/>
        </p:nvSpPr>
        <p:spPr>
          <a:xfrm>
            <a:off x="4742257" y="5278832"/>
            <a:ext cx="54341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255</a:t>
            </a:r>
          </a:p>
          <a:p>
            <a:pPr algn="l"/>
            <a:r>
              <a:rPr lang="de-DE" sz="1600" dirty="0"/>
              <a:t>G: 255</a:t>
            </a:r>
          </a:p>
          <a:p>
            <a:pPr algn="l"/>
            <a:r>
              <a:rPr lang="de-DE" sz="1600" dirty="0"/>
              <a:t>B: 255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C9CF47-CFA1-7E47-C5D0-F5A22EE37E6F}"/>
              </a:ext>
            </a:extLst>
          </p:cNvPr>
          <p:cNvSpPr txBox="1"/>
          <p:nvPr/>
        </p:nvSpPr>
        <p:spPr>
          <a:xfrm>
            <a:off x="2988809" y="5278832"/>
            <a:ext cx="33502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0</a:t>
            </a:r>
          </a:p>
          <a:p>
            <a:pPr algn="l"/>
            <a:r>
              <a:rPr lang="de-DE" sz="1600" dirty="0"/>
              <a:t>G: 0</a:t>
            </a:r>
          </a:p>
          <a:p>
            <a:pPr algn="l"/>
            <a:r>
              <a:rPr lang="de-DE" sz="1600" dirty="0"/>
              <a:t>B: 0</a:t>
            </a:r>
            <a:endParaRPr lang="en-US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19B21F-1F8D-4912-E9EC-5685225C59BA}"/>
              </a:ext>
            </a:extLst>
          </p:cNvPr>
          <p:cNvSpPr txBox="1"/>
          <p:nvPr/>
        </p:nvSpPr>
        <p:spPr>
          <a:xfrm>
            <a:off x="1439931" y="4358657"/>
            <a:ext cx="52578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100</a:t>
            </a:r>
          </a:p>
          <a:p>
            <a:pPr algn="l"/>
            <a:r>
              <a:rPr lang="de-DE" sz="1600" dirty="0"/>
              <a:t>G: 0</a:t>
            </a:r>
          </a:p>
          <a:p>
            <a:pPr algn="l"/>
            <a:r>
              <a:rPr lang="de-DE" sz="1600" dirty="0"/>
              <a:t>B: 0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7794991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219BA-BF42-6FB3-6D2A-BED9FACAA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duino / ESP3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D94B62-A488-C922-A9C9-08BABBB69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DDF3CF-7E3E-05A7-73C4-4DDF5A95D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9B8BA6-27C6-FA06-4972-120F97DD49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rduino / ESP32 is the go-to gear hobbyis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With Arduino / ESP32, you can control almost everything around you, be it simple LED or giant robo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Basically Arduino / ESP32 are microcontroller board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Microcontroller is microprocessor with memory, RAM and some other peripheral connected with it. </a:t>
            </a:r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6FCCF8F-502D-8944-8832-EC35248AC7A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2908FE1-3FDB-060A-60C6-0C10A3AB13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2722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92BF26-45BE-6CEC-C6E7-F1A73EDA3F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F7F681-0030-EBBA-BDA8-CDBDB1FC6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5D90-A3D7-A9B0-18DC-76428FB41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269A76-6831-E52D-14F9-D20326E2B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30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887072-770C-33A2-9CA8-F363ECF5D5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11041062" cy="2454162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ED type WS2812b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Each</a:t>
            </a:r>
            <a:r>
              <a:rPr lang="de-DE" dirty="0"/>
              <a:t> LED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ddressed</a:t>
            </a:r>
            <a:r>
              <a:rPr lang="de-DE" dirty="0"/>
              <a:t> </a:t>
            </a:r>
            <a:r>
              <a:rPr lang="de-DE" dirty="0" err="1"/>
              <a:t>individually</a:t>
            </a:r>
            <a:r>
              <a:rPr lang="de-DE" dirty="0"/>
              <a:t>,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onnection</a:t>
            </a: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9CEA311-D31A-3AEC-1781-325C6F8A8F4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51CAA7A5-7623-420D-C16C-9ECF37F45A4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 descr="A close-up of a strip of lights&#10;&#10;Description automatically generated">
            <a:extLst>
              <a:ext uri="{FF2B5EF4-FFF2-40B4-BE49-F238E27FC236}">
                <a16:creationId xmlns:a16="http://schemas.microsoft.com/office/drawing/2014/main" id="{A64C3140-2A00-DF95-C5AD-24B0C50B7D8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3565" b="44950"/>
          <a:stretch/>
        </p:blipFill>
        <p:spPr>
          <a:xfrm rot="10800000">
            <a:off x="2202000" y="2351467"/>
            <a:ext cx="9144000" cy="7876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6D7A66C-DC7E-F0E9-A304-7BD97358482E}"/>
              </a:ext>
            </a:extLst>
          </p:cNvPr>
          <p:cNvSpPr txBox="1"/>
          <p:nvPr/>
        </p:nvSpPr>
        <p:spPr>
          <a:xfrm>
            <a:off x="1444408" y="2351466"/>
            <a:ext cx="62985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Ground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CB9040-C40A-8ED3-6404-AA736560217E}"/>
              </a:ext>
            </a:extLst>
          </p:cNvPr>
          <p:cNvSpPr txBox="1"/>
          <p:nvPr/>
        </p:nvSpPr>
        <p:spPr>
          <a:xfrm>
            <a:off x="1558067" y="2602817"/>
            <a:ext cx="39844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b="1" dirty="0"/>
              <a:t>Data</a:t>
            </a:r>
            <a:endParaRPr lang="en-US" sz="16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6A175C-71B6-7B74-27C6-9FFF2CD0080C}"/>
              </a:ext>
            </a:extLst>
          </p:cNvPr>
          <p:cNvSpPr txBox="1"/>
          <p:nvPr/>
        </p:nvSpPr>
        <p:spPr>
          <a:xfrm>
            <a:off x="1477494" y="2823315"/>
            <a:ext cx="563680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5 Volts</a:t>
            </a:r>
            <a:endParaRPr 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E5BB21-FCC1-AB15-18E2-3872717E4F8F}"/>
              </a:ext>
            </a:extLst>
          </p:cNvPr>
          <p:cNvSpPr/>
          <p:nvPr/>
        </p:nvSpPr>
        <p:spPr>
          <a:xfrm>
            <a:off x="2800466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1</a:t>
            </a:r>
            <a:endParaRPr lang="en-US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6F9DC768-EE02-7D8B-FCC5-3D4E5FF13782}"/>
              </a:ext>
            </a:extLst>
          </p:cNvPr>
          <p:cNvCxnSpPr/>
          <p:nvPr/>
        </p:nvCxnSpPr>
        <p:spPr>
          <a:xfrm>
            <a:off x="2139594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36912FE-26CB-BF9C-2660-E815549EAEC1}"/>
              </a:ext>
            </a:extLst>
          </p:cNvPr>
          <p:cNvSpPr/>
          <p:nvPr/>
        </p:nvSpPr>
        <p:spPr>
          <a:xfrm>
            <a:off x="4547713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2</a:t>
            </a:r>
            <a:endParaRPr lang="en-US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C354B13-96F0-1002-31B0-C451C4266371}"/>
              </a:ext>
            </a:extLst>
          </p:cNvPr>
          <p:cNvCxnSpPr/>
          <p:nvPr/>
        </p:nvCxnSpPr>
        <p:spPr>
          <a:xfrm>
            <a:off x="388684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BE86167E-9145-A95B-5FB3-711F70DF97BF}"/>
              </a:ext>
            </a:extLst>
          </p:cNvPr>
          <p:cNvSpPr/>
          <p:nvPr/>
        </p:nvSpPr>
        <p:spPr>
          <a:xfrm>
            <a:off x="6297337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3</a:t>
            </a:r>
            <a:endParaRPr lang="en-US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917BE44-9C9D-55BF-DBF6-45F02A31DA45}"/>
              </a:ext>
            </a:extLst>
          </p:cNvPr>
          <p:cNvCxnSpPr/>
          <p:nvPr/>
        </p:nvCxnSpPr>
        <p:spPr>
          <a:xfrm>
            <a:off x="5636465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15193B3-E11C-3CB7-9C6F-118816C069C5}"/>
              </a:ext>
            </a:extLst>
          </p:cNvPr>
          <p:cNvCxnSpPr/>
          <p:nvPr/>
        </p:nvCxnSpPr>
        <p:spPr>
          <a:xfrm>
            <a:off x="735746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065086B-045E-0393-1525-F2D39CE98AAB}"/>
              </a:ext>
            </a:extLst>
          </p:cNvPr>
          <p:cNvSpPr txBox="1"/>
          <p:nvPr/>
        </p:nvSpPr>
        <p:spPr>
          <a:xfrm>
            <a:off x="6507672" y="5278832"/>
            <a:ext cx="54341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255</a:t>
            </a:r>
          </a:p>
          <a:p>
            <a:pPr algn="l"/>
            <a:r>
              <a:rPr lang="de-DE" sz="1600" dirty="0"/>
              <a:t>G: 255</a:t>
            </a:r>
          </a:p>
          <a:p>
            <a:pPr algn="l"/>
            <a:r>
              <a:rPr lang="de-DE" sz="1600" dirty="0"/>
              <a:t>B: 255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E7D27D-F1CA-9BB5-8A14-EE748E3DE91D}"/>
              </a:ext>
            </a:extLst>
          </p:cNvPr>
          <p:cNvSpPr txBox="1"/>
          <p:nvPr/>
        </p:nvSpPr>
        <p:spPr>
          <a:xfrm>
            <a:off x="4754224" y="5278832"/>
            <a:ext cx="33502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0</a:t>
            </a:r>
          </a:p>
          <a:p>
            <a:pPr algn="l"/>
            <a:r>
              <a:rPr lang="de-DE" sz="1600" dirty="0"/>
              <a:t>G: 0</a:t>
            </a:r>
          </a:p>
          <a:p>
            <a:pPr algn="l"/>
            <a:r>
              <a:rPr lang="de-DE" sz="1600" dirty="0"/>
              <a:t>B: 0</a:t>
            </a:r>
            <a:endParaRPr lang="en-US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6BF7D23-4EB4-2F88-3135-E4B6DE85C1C9}"/>
              </a:ext>
            </a:extLst>
          </p:cNvPr>
          <p:cNvSpPr txBox="1"/>
          <p:nvPr/>
        </p:nvSpPr>
        <p:spPr>
          <a:xfrm>
            <a:off x="3003826" y="5278832"/>
            <a:ext cx="52578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100</a:t>
            </a:r>
          </a:p>
          <a:p>
            <a:pPr algn="l"/>
            <a:r>
              <a:rPr lang="de-DE" sz="1600" dirty="0"/>
              <a:t>G: 0</a:t>
            </a:r>
          </a:p>
          <a:p>
            <a:pPr algn="l"/>
            <a:r>
              <a:rPr lang="de-DE" sz="1600" dirty="0"/>
              <a:t>B: 0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0956462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6B5E36-9E14-06F5-D18B-2AA0778B0C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F1310-FE06-CD7C-A7C0-3D0C3F312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8D55C2-CF47-C6EC-29F7-80668F989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956D1E-7DF0-A942-FD09-FA23D2A56E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31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EA94B4-6171-DEEB-C822-09E76CE8E1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1638000"/>
            <a:ext cx="11041062" cy="2454162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ED type WS2812b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Each</a:t>
            </a:r>
            <a:r>
              <a:rPr lang="de-DE" dirty="0"/>
              <a:t> LED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ddressed</a:t>
            </a:r>
            <a:r>
              <a:rPr lang="de-DE" dirty="0"/>
              <a:t> </a:t>
            </a:r>
            <a:r>
              <a:rPr lang="de-DE" dirty="0" err="1"/>
              <a:t>individually</a:t>
            </a:r>
            <a:r>
              <a:rPr lang="de-DE" dirty="0"/>
              <a:t>,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onnection</a:t>
            </a: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8E7179D-2A83-186B-5657-C3D78B7A8F6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5FC5A42C-0F67-FDD5-ADA3-3437D8D6A1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 descr="A close-up of a strip of lights&#10;&#10;Description automatically generated">
            <a:extLst>
              <a:ext uri="{FF2B5EF4-FFF2-40B4-BE49-F238E27FC236}">
                <a16:creationId xmlns:a16="http://schemas.microsoft.com/office/drawing/2014/main" id="{A7810E08-EF76-CF9D-4A01-EEF5B60F589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3565" b="44950"/>
          <a:stretch/>
        </p:blipFill>
        <p:spPr>
          <a:xfrm rot="10800000">
            <a:off x="2202000" y="2351467"/>
            <a:ext cx="9144000" cy="78765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F40723F-D663-0B1E-1A26-49B6044BFAFF}"/>
              </a:ext>
            </a:extLst>
          </p:cNvPr>
          <p:cNvSpPr txBox="1"/>
          <p:nvPr/>
        </p:nvSpPr>
        <p:spPr>
          <a:xfrm>
            <a:off x="1444408" y="2351466"/>
            <a:ext cx="62985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Ground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710E82-4963-F3B4-8A95-322AEB76F495}"/>
              </a:ext>
            </a:extLst>
          </p:cNvPr>
          <p:cNvSpPr txBox="1"/>
          <p:nvPr/>
        </p:nvSpPr>
        <p:spPr>
          <a:xfrm>
            <a:off x="1558067" y="2602817"/>
            <a:ext cx="398442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b="1" dirty="0"/>
              <a:t>Data</a:t>
            </a:r>
            <a:endParaRPr lang="en-US" sz="16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A225C8-45A3-8512-1FA0-5ECCC6AA6BB8}"/>
              </a:ext>
            </a:extLst>
          </p:cNvPr>
          <p:cNvSpPr txBox="1"/>
          <p:nvPr/>
        </p:nvSpPr>
        <p:spPr>
          <a:xfrm>
            <a:off x="1477494" y="2823315"/>
            <a:ext cx="563680" cy="2849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5 Volts</a:t>
            </a:r>
            <a:endParaRPr 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B65821-F08E-47AD-F689-2309070050BD}"/>
              </a:ext>
            </a:extLst>
          </p:cNvPr>
          <p:cNvSpPr/>
          <p:nvPr/>
        </p:nvSpPr>
        <p:spPr>
          <a:xfrm>
            <a:off x="2800466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FF0000"/>
                </a:solidFill>
              </a:rPr>
              <a:t>LED 1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F298130-9378-43A5-8600-B627E32C6A97}"/>
              </a:ext>
            </a:extLst>
          </p:cNvPr>
          <p:cNvCxnSpPr/>
          <p:nvPr/>
        </p:nvCxnSpPr>
        <p:spPr>
          <a:xfrm>
            <a:off x="2139594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58BB60BB-40C1-A7E8-20CC-0DC05E232B18}"/>
              </a:ext>
            </a:extLst>
          </p:cNvPr>
          <p:cNvSpPr/>
          <p:nvPr/>
        </p:nvSpPr>
        <p:spPr>
          <a:xfrm>
            <a:off x="4547713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ED 2</a:t>
            </a: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36C0AFA-E1D8-7C64-597B-BCBA5BF70CE8}"/>
              </a:ext>
            </a:extLst>
          </p:cNvPr>
          <p:cNvCxnSpPr/>
          <p:nvPr/>
        </p:nvCxnSpPr>
        <p:spPr>
          <a:xfrm>
            <a:off x="388684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66003D36-F252-BC6A-4A87-6BB5B3136497}"/>
              </a:ext>
            </a:extLst>
          </p:cNvPr>
          <p:cNvSpPr/>
          <p:nvPr/>
        </p:nvSpPr>
        <p:spPr>
          <a:xfrm>
            <a:off x="6297337" y="4309668"/>
            <a:ext cx="932507" cy="7876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D 3</a:t>
            </a:r>
            <a:endParaRPr lang="en-US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9EC3453-7FD8-95FE-9348-23F6E54142FB}"/>
              </a:ext>
            </a:extLst>
          </p:cNvPr>
          <p:cNvCxnSpPr/>
          <p:nvPr/>
        </p:nvCxnSpPr>
        <p:spPr>
          <a:xfrm>
            <a:off x="5636465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3AAE62A5-3C3C-1242-CA32-1D3A40060A0D}"/>
              </a:ext>
            </a:extLst>
          </p:cNvPr>
          <p:cNvCxnSpPr/>
          <p:nvPr/>
        </p:nvCxnSpPr>
        <p:spPr>
          <a:xfrm>
            <a:off x="7357461" y="4703494"/>
            <a:ext cx="539061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E61A307A-75A7-8B55-B0F4-C8555DC3EC8B}"/>
              </a:ext>
            </a:extLst>
          </p:cNvPr>
          <p:cNvSpPr txBox="1"/>
          <p:nvPr/>
        </p:nvSpPr>
        <p:spPr>
          <a:xfrm>
            <a:off x="6507672" y="5278832"/>
            <a:ext cx="54341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255</a:t>
            </a:r>
          </a:p>
          <a:p>
            <a:pPr algn="l"/>
            <a:r>
              <a:rPr lang="de-DE" sz="1600" dirty="0"/>
              <a:t>G: 255</a:t>
            </a:r>
          </a:p>
          <a:p>
            <a:pPr algn="l"/>
            <a:r>
              <a:rPr lang="de-DE" sz="1600" dirty="0"/>
              <a:t>B: 255</a:t>
            </a: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A8525F-0996-3149-9315-D2D0E446979C}"/>
              </a:ext>
            </a:extLst>
          </p:cNvPr>
          <p:cNvSpPr txBox="1"/>
          <p:nvPr/>
        </p:nvSpPr>
        <p:spPr>
          <a:xfrm>
            <a:off x="4754224" y="5278832"/>
            <a:ext cx="335028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0</a:t>
            </a:r>
          </a:p>
          <a:p>
            <a:pPr algn="l"/>
            <a:r>
              <a:rPr lang="de-DE" sz="1600" dirty="0"/>
              <a:t>G: 0</a:t>
            </a:r>
          </a:p>
          <a:p>
            <a:pPr algn="l"/>
            <a:r>
              <a:rPr lang="de-DE" sz="1600" dirty="0"/>
              <a:t>B: 0</a:t>
            </a:r>
            <a:endParaRPr lang="en-US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3546E1-4A6E-AEB9-7548-460F2D1D12CA}"/>
              </a:ext>
            </a:extLst>
          </p:cNvPr>
          <p:cNvSpPr txBox="1"/>
          <p:nvPr/>
        </p:nvSpPr>
        <p:spPr>
          <a:xfrm>
            <a:off x="3003826" y="5278832"/>
            <a:ext cx="52578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600" dirty="0"/>
              <a:t>R: 100</a:t>
            </a:r>
          </a:p>
          <a:p>
            <a:pPr algn="l"/>
            <a:r>
              <a:rPr lang="de-DE" sz="1600" dirty="0"/>
              <a:t>G: 0</a:t>
            </a:r>
          </a:p>
          <a:p>
            <a:pPr algn="l"/>
            <a:r>
              <a:rPr lang="de-DE" sz="1600" dirty="0"/>
              <a:t>B: 0</a:t>
            </a:r>
            <a:endParaRPr lang="en-US" sz="16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AB7537-0207-364B-FACB-14530C40CBA6}"/>
              </a:ext>
            </a:extLst>
          </p:cNvPr>
          <p:cNvSpPr txBox="1"/>
          <p:nvPr/>
        </p:nvSpPr>
        <p:spPr>
          <a:xfrm>
            <a:off x="8608120" y="4828480"/>
            <a:ext cx="2435382" cy="10130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sz="1800" dirty="0" err="1"/>
              <a:t>When</a:t>
            </a:r>
            <a:r>
              <a:rPr lang="de-DE" sz="1800" dirty="0"/>
              <a:t> </a:t>
            </a:r>
            <a:r>
              <a:rPr lang="de-DE" sz="1800" dirty="0" err="1"/>
              <a:t>no</a:t>
            </a:r>
            <a:r>
              <a:rPr lang="de-DE" sz="1800" dirty="0"/>
              <a:t> </a:t>
            </a:r>
            <a:r>
              <a:rPr lang="de-DE" sz="1800" dirty="0" err="1"/>
              <a:t>new</a:t>
            </a:r>
            <a:r>
              <a:rPr lang="de-DE" sz="1800" dirty="0"/>
              <a:t> </a:t>
            </a:r>
            <a:r>
              <a:rPr lang="de-DE" sz="1800" dirty="0" err="1"/>
              <a:t>signal</a:t>
            </a:r>
            <a:r>
              <a:rPr lang="de-DE" sz="1800" dirty="0"/>
              <a:t> </a:t>
            </a:r>
            <a:r>
              <a:rPr lang="de-DE" sz="1800" dirty="0" err="1"/>
              <a:t>is</a:t>
            </a:r>
            <a:r>
              <a:rPr lang="de-DE" sz="1800" dirty="0"/>
              <a:t> </a:t>
            </a:r>
            <a:r>
              <a:rPr lang="de-DE" sz="1800" dirty="0" err="1"/>
              <a:t>sent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a </a:t>
            </a:r>
            <a:r>
              <a:rPr lang="de-DE" sz="1800" dirty="0" err="1"/>
              <a:t>certain</a:t>
            </a:r>
            <a:r>
              <a:rPr lang="de-DE" sz="1800" dirty="0"/>
              <a:t> </a:t>
            </a:r>
            <a:r>
              <a:rPr lang="de-DE" sz="1800" dirty="0" err="1"/>
              <a:t>while</a:t>
            </a:r>
            <a:r>
              <a:rPr lang="de-DE" sz="1800" dirty="0"/>
              <a:t>, all LEDs </a:t>
            </a:r>
            <a:r>
              <a:rPr lang="de-DE" sz="1800" dirty="0" err="1"/>
              <a:t>change</a:t>
            </a:r>
            <a:r>
              <a:rPr lang="de-DE" sz="1800" dirty="0"/>
              <a:t> </a:t>
            </a:r>
            <a:r>
              <a:rPr lang="de-DE" sz="1800" dirty="0" err="1"/>
              <a:t>color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7113257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7B4612-72D9-054F-DDF4-351F5B5734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A70F2E-C7CC-0D75-3115-1E3A65A13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BD776C-0982-FE1B-6C56-29C786BA34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7802B8-5441-9FA2-142C-C5FE083A3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32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869F5B-CA75-E704-8D5D-6F7E137F7F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 err="1">
                <a:solidFill>
                  <a:schemeClr val="bg2">
                    <a:lumMod val="75000"/>
                  </a:schemeClr>
                </a:solidFill>
              </a:rPr>
              <a:t>Introduction</a:t>
            </a:r>
            <a:endParaRPr lang="de-DE" sz="3200" dirty="0">
              <a:solidFill>
                <a:schemeClr val="bg2">
                  <a:lumMod val="7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>
                <a:solidFill>
                  <a:schemeClr val="bg2">
                    <a:lumMod val="75000"/>
                  </a:schemeClr>
                </a:solidFill>
              </a:rPr>
              <a:t>Hardware Componen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/>
              <a:t>Coding</a:t>
            </a:r>
            <a:endParaRPr lang="en-US" sz="320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77F839C-6977-CF12-F75D-0FDDE5ACDE0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BC5B93F9-3187-933A-5FF4-BF56FB434DC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1439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582CBA-FCA6-4FFB-26A1-EA9543F18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: Code Setup 1/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B14166-6C37-5C60-5E62-7EA837214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93A6FC-E414-478A-6E07-2180649DC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33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7428F9-E458-0568-EA02-D2C3C22F3F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Library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EDs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FastLED</a:t>
            </a:r>
            <a:endParaRPr lang="de-DE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fine the number of LEDs on our LED stri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D64ED-0377-707F-BD50-ECA1B0DBE11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9484C7A-C864-5161-3F1D-116F2061784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5C9218-03EE-5223-8833-BADCFF3DF4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4874" y="2506596"/>
            <a:ext cx="3153215" cy="50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362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3D027E-AE39-497D-289E-8411677F11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4F4ECE-5E57-CD3A-9AE3-5CC69EED2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: Code Setup 1/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677833-3493-34B0-BE23-B458DD956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B0F6CC-BB2C-849A-03F4-4575CEBF6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34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9ACB2F-C6BB-21FD-E603-320F477AB4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Library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EDs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FastLED</a:t>
            </a:r>
            <a:endParaRPr lang="de-DE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fine the number of LEDs on our LED stri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fine an array that contains our RGB valu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RGB is a data structure from </a:t>
            </a:r>
            <a:r>
              <a:rPr lang="en-US" dirty="0" err="1"/>
              <a:t>FastLED</a:t>
            </a:r>
            <a:r>
              <a:rPr lang="en-US" dirty="0"/>
              <a:t> </a:t>
            </a:r>
          </a:p>
          <a:p>
            <a:pPr marL="558900" lvl="1" indent="-342900"/>
            <a:r>
              <a:rPr lang="en-US" dirty="0"/>
              <a:t>e.g. </a:t>
            </a:r>
            <a:r>
              <a:rPr lang="en-US" dirty="0" err="1"/>
              <a:t>pixel_buffer</a:t>
            </a:r>
            <a:r>
              <a:rPr lang="en-US" dirty="0"/>
              <a:t>[2].r is the red value of the third LED</a:t>
            </a:r>
          </a:p>
          <a:p>
            <a:pPr marL="558900" lvl="1" indent="-342900"/>
            <a:r>
              <a:rPr lang="en-US" dirty="0"/>
              <a:t>Constant values of many different colors are available, e.g. CRGB::YELLOW</a:t>
            </a:r>
          </a:p>
          <a:p>
            <a:pPr marL="342900" indent="-3429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5B45D9-1485-42A1-58F8-E8FDD856D84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8ED99187-6CEC-CB77-A404-2A81325E8A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DD75008-B78E-A3CB-F71D-211DDDEF2B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4874" y="2506596"/>
            <a:ext cx="3153215" cy="5048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9DD65C8-3001-D11C-E733-9322FF2B4B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874" y="3681690"/>
            <a:ext cx="7411484" cy="7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2090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7D510A-DBCA-E27D-712B-D7690F6CAF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DD637-01FB-E8A9-E1E2-1F11F3801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: Code Setup 1/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0877A5-2140-2055-F396-0AFF80A97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15B41E-DD97-F1E5-63E9-5EF7E289B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35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A47F8E-27F1-7894-3553-004BC1EBEB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Library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EDs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FastLED</a:t>
            </a:r>
            <a:endParaRPr lang="de-DE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fine the number of LEDs on our LED stri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fine an array that contains our RGB valu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RGB is a data structure from </a:t>
            </a:r>
            <a:r>
              <a:rPr lang="en-US" dirty="0" err="1"/>
              <a:t>FastLED</a:t>
            </a:r>
            <a:r>
              <a:rPr lang="en-US" dirty="0"/>
              <a:t> </a:t>
            </a:r>
          </a:p>
          <a:p>
            <a:pPr marL="558900" lvl="1" indent="-342900"/>
            <a:r>
              <a:rPr lang="en-US" dirty="0"/>
              <a:t>e.g. </a:t>
            </a:r>
            <a:r>
              <a:rPr lang="en-US" dirty="0" err="1"/>
              <a:t>pixel_buffer</a:t>
            </a:r>
            <a:r>
              <a:rPr lang="en-US" dirty="0"/>
              <a:t>[2].r is the red value of the third LED</a:t>
            </a:r>
          </a:p>
          <a:p>
            <a:pPr marL="558900" lvl="1" indent="-342900"/>
            <a:r>
              <a:rPr lang="en-US" dirty="0"/>
              <a:t>Constant values of many different colors are available, e.g. CRGB::YELLOW</a:t>
            </a:r>
          </a:p>
          <a:p>
            <a:pPr marL="342900" indent="-3429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3603E8A-C7E7-101C-F5AE-8D4B7E42EB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673B9F18-CC1A-BDA6-C936-F994B35E15E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2301CC-4859-C21C-0025-42A0A38B7D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4874" y="2506596"/>
            <a:ext cx="3153215" cy="5048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221CC79-E1B6-33B9-4F30-AD79206208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874" y="3681690"/>
            <a:ext cx="7411484" cy="7621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9757904-3836-3DD8-4D84-EBF8B3752D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1938" y="2316837"/>
            <a:ext cx="4489062" cy="884412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E217FC2C-9E3F-7A91-48A5-55754EFA90AB}"/>
              </a:ext>
            </a:extLst>
          </p:cNvPr>
          <p:cNvCxnSpPr>
            <a:cxnSpLocks/>
          </p:cNvCxnSpPr>
          <p:nvPr/>
        </p:nvCxnSpPr>
        <p:spPr>
          <a:xfrm flipV="1">
            <a:off x="2426329" y="3176310"/>
            <a:ext cx="4429284" cy="970177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43017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1E8C01-00E2-5858-4490-F829334601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C0CBC-18DF-69A6-966A-E105963E7E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: Code Setup 2/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3143F1-621D-EE1F-296C-A66EFA306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422374-340D-E8BE-F02D-BECCB80D8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36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49BE76-6754-33B2-7CE0-805AA45D77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Tell </a:t>
            </a:r>
            <a:r>
              <a:rPr lang="de-DE" dirty="0" err="1"/>
              <a:t>FastLED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LED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,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p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ED </a:t>
            </a:r>
            <a:r>
              <a:rPr lang="de-DE" dirty="0" err="1"/>
              <a:t>strip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on and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arra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LED </a:t>
            </a:r>
            <a:r>
              <a:rPr lang="de-DE" dirty="0" err="1"/>
              <a:t>data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F9E4A3-3DD1-7A43-66E6-A046371B42A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F09A2E6-7CEE-EA37-11CA-BDA503FBC6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F620BA8-EA0D-F58C-73FA-59B2FA17D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4874" y="2099150"/>
            <a:ext cx="6049219" cy="60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24890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D6BCA5-5732-000B-D8B5-410C1FCCB6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6C06B-2943-59F5-7E5A-4BE8D65C2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: Code Setup 2/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D23D07-1A3E-6823-706F-0835F1F18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E57AC9-2ED9-A5B6-1C7F-17BD19F8C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37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717995-D9DD-CFBA-A826-72E97F45B0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Tell </a:t>
            </a:r>
            <a:r>
              <a:rPr lang="de-DE" dirty="0" err="1"/>
              <a:t>FastLED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LED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,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p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ED </a:t>
            </a:r>
            <a:r>
              <a:rPr lang="de-DE" dirty="0" err="1"/>
              <a:t>strip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on and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arra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LED </a:t>
            </a:r>
            <a:r>
              <a:rPr lang="de-DE" dirty="0" err="1"/>
              <a:t>data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xel_buffe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ED </a:t>
            </a:r>
            <a:r>
              <a:rPr lang="de-DE" dirty="0" err="1"/>
              <a:t>strip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7B5901-C268-A60D-7E82-7D5E3346341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CE034238-85CD-3366-89A1-82170022A95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4A786F6-3793-4154-34E2-CEB895F25C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4874" y="3257949"/>
            <a:ext cx="3591426" cy="46679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63A80DC-7427-B482-C52E-AFA71BF3C5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874" y="2099150"/>
            <a:ext cx="6049219" cy="60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81054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EC0E58-6386-8796-E1BD-2845578E19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132E9-32BF-705D-D1BA-8CF2F4F4B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Ds: Code Setup 2/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04B552-A30B-27AC-E02B-530650CDE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ADBFDC-7ABC-C6AB-4BF6-261463D60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38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B4342F-6214-E951-59E0-639FA63640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Tell </a:t>
            </a:r>
            <a:r>
              <a:rPr lang="de-DE" dirty="0" err="1"/>
              <a:t>FastLED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LED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,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p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ED </a:t>
            </a:r>
            <a:r>
              <a:rPr lang="de-DE" dirty="0" err="1"/>
              <a:t>strip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on and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arra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LED </a:t>
            </a:r>
            <a:r>
              <a:rPr lang="de-DE" dirty="0" err="1"/>
              <a:t>data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Se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xel_buffe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ED </a:t>
            </a:r>
            <a:r>
              <a:rPr lang="de-DE" dirty="0" err="1"/>
              <a:t>strip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Res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ixel_buffer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etting</a:t>
            </a:r>
            <a:r>
              <a:rPr lang="de-DE" dirty="0"/>
              <a:t> all </a:t>
            </a:r>
            <a:r>
              <a:rPr lang="de-DE" dirty="0" err="1"/>
              <a:t>valu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lack</a:t>
            </a:r>
            <a:r>
              <a:rPr lang="de-DE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C5448AA-F28C-773B-3B2C-2B24C9D5980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7602E67F-FB5D-D188-1EB7-EBE4D5832BD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621DAFD-9A37-C3AC-D27C-B0FD8545BA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4874" y="3257949"/>
            <a:ext cx="3591426" cy="46679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B1F9D19-B0FA-B46B-5014-773AC313C0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874" y="4505332"/>
            <a:ext cx="4448796" cy="11622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5253C52-628F-0E19-B69D-9C33C9EC9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4874" y="2099150"/>
            <a:ext cx="6049219" cy="60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5305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85CA15-19C3-C251-6C57-8A6AE7A39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r Animation 1/5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AFD44D-2E58-AC7D-0F65-C7D386F7B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73181B-FD32-9BE2-C153-A833A61FD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39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F0FB63-B478-A791-82AD-AE080728CA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Idea: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random</a:t>
            </a:r>
            <a:r>
              <a:rPr lang="de-DE" dirty="0"/>
              <a:t> </a:t>
            </a:r>
            <a:r>
              <a:rPr lang="de-DE" dirty="0" err="1"/>
              <a:t>single</a:t>
            </a:r>
            <a:r>
              <a:rPr lang="de-DE" dirty="0"/>
              <a:t> LEDs light </a:t>
            </a:r>
            <a:r>
              <a:rPr lang="de-DE" dirty="0" err="1"/>
              <a:t>up</a:t>
            </a:r>
            <a:r>
              <a:rPr lang="de-DE" dirty="0"/>
              <a:t> in </a:t>
            </a:r>
            <a:r>
              <a:rPr lang="de-DE" dirty="0" err="1"/>
              <a:t>rainbow</a:t>
            </a:r>
            <a:r>
              <a:rPr lang="de-DE" dirty="0"/>
              <a:t> </a:t>
            </a:r>
            <a:r>
              <a:rPr lang="de-DE" dirty="0" err="1"/>
              <a:t>color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short</a:t>
            </a:r>
            <a:r>
              <a:rPr lang="de-DE" dirty="0"/>
              <a:t> </a:t>
            </a:r>
            <a:r>
              <a:rPr lang="de-DE" dirty="0" err="1"/>
              <a:t>perio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i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Defin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tars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ant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Create an </a:t>
            </a:r>
            <a:r>
              <a:rPr lang="de-DE" dirty="0" err="1"/>
              <a:t>arra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possible </a:t>
            </a:r>
            <a:r>
              <a:rPr lang="de-DE" dirty="0" err="1"/>
              <a:t>color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ar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oriented</a:t>
            </a:r>
            <a:r>
              <a:rPr lang="de-DE" dirty="0"/>
              <a:t> </a:t>
            </a:r>
            <a:r>
              <a:rPr lang="de-DE" dirty="0" err="1"/>
              <a:t>programm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a Star </a:t>
            </a:r>
            <a:r>
              <a:rPr lang="de-DE" dirty="0" err="1"/>
              <a:t>class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522D287-D39F-7239-091B-E22F33566B8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CBE35784-A212-621E-7150-4FE35A9CBD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DEEF39E-CB88-DDC5-3DBE-6140EE14C3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545" y="2495109"/>
            <a:ext cx="1619476" cy="23815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9DB82FC-8857-5D10-C39B-2FB53388DE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545" y="3227970"/>
            <a:ext cx="8402223" cy="257211"/>
          </a:xfrm>
          <a:prstGeom prst="rect">
            <a:avLst/>
          </a:prstGeom>
        </p:spPr>
      </p:pic>
      <p:sp>
        <p:nvSpPr>
          <p:cNvPr id="16" name="Right Brace 15">
            <a:extLst>
              <a:ext uri="{FF2B5EF4-FFF2-40B4-BE49-F238E27FC236}">
                <a16:creationId xmlns:a16="http://schemas.microsoft.com/office/drawing/2014/main" id="{70F57C08-2AC2-926E-D136-362DB9FB6FF7}"/>
              </a:ext>
            </a:extLst>
          </p:cNvPr>
          <p:cNvSpPr/>
          <p:nvPr/>
        </p:nvSpPr>
        <p:spPr>
          <a:xfrm>
            <a:off x="3597600" y="4979406"/>
            <a:ext cx="376871" cy="443620"/>
          </a:xfrm>
          <a:prstGeom prst="rightBrac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3C84293-C69B-13AB-67FE-D8980290B3E2}"/>
              </a:ext>
            </a:extLst>
          </p:cNvPr>
          <p:cNvSpPr txBox="1"/>
          <p:nvPr/>
        </p:nvSpPr>
        <p:spPr>
          <a:xfrm>
            <a:off x="4119327" y="4988420"/>
            <a:ext cx="2290526" cy="3562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2000" dirty="0" err="1"/>
              <a:t>functions</a:t>
            </a:r>
            <a:endParaRPr lang="en-US" sz="2000" dirty="0"/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AB8E4923-1790-3373-AB55-BD6362D068CF}"/>
              </a:ext>
            </a:extLst>
          </p:cNvPr>
          <p:cNvSpPr/>
          <p:nvPr/>
        </p:nvSpPr>
        <p:spPr>
          <a:xfrm>
            <a:off x="3597600" y="5469965"/>
            <a:ext cx="376871" cy="656934"/>
          </a:xfrm>
          <a:prstGeom prst="rightBrac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D3CB23-EF1B-C479-98E9-D16701E7B445}"/>
              </a:ext>
            </a:extLst>
          </p:cNvPr>
          <p:cNvSpPr txBox="1"/>
          <p:nvPr/>
        </p:nvSpPr>
        <p:spPr>
          <a:xfrm>
            <a:off x="4119327" y="5579702"/>
            <a:ext cx="2290526" cy="3562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2000" dirty="0" err="1"/>
              <a:t>properties</a:t>
            </a:r>
            <a:endParaRPr lang="en-US" sz="200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F8F9251-D9A0-4EFB-BE96-A1E5C914D9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4583" y="4102190"/>
            <a:ext cx="2048161" cy="2229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1797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EB96EB-18C7-F8A5-E1C1-BD369A073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: Arduino Un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6D772E-F469-10C0-F06D-D3FE6D2C8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4E55B8-EEC5-682F-890A-52E6878A1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A992DE-A856-023C-2FE1-D62281E436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 does it hav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crocontroller ATmega328 with 20 MHz, 32 kB flash memory and 2 kB of 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4 Digital In/Out pins (6 can be used as PW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6 Analog Inpu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USB Conn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Power J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et Butt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-board 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L/SDA pins (Serial Clock/ Serial Data pins)</a:t>
            </a:r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D21DDAE-2B38-A489-27C3-62EF70097BA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1C4F4135-226D-91BA-668C-1E449885A53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24E39F21-D31F-EF2F-4E50-BAC11A8010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8842" y="3032234"/>
            <a:ext cx="2895600" cy="2032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C4B7EE1-F5F1-C8F1-9474-7C9E59CFD907}"/>
              </a:ext>
            </a:extLst>
          </p:cNvPr>
          <p:cNvCxnSpPr/>
          <p:nvPr/>
        </p:nvCxnSpPr>
        <p:spPr>
          <a:xfrm flipV="1">
            <a:off x="7568697" y="4508626"/>
            <a:ext cx="697117" cy="1077362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2DDD0EF-CBDE-C377-A214-989EEA6FC936}"/>
              </a:ext>
            </a:extLst>
          </p:cNvPr>
          <p:cNvSpPr txBox="1"/>
          <p:nvPr/>
        </p:nvSpPr>
        <p:spPr>
          <a:xfrm>
            <a:off x="7088865" y="5630412"/>
            <a:ext cx="1240324" cy="2849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ATmega328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351898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9628A-6274-7C8D-2D1E-D8366D8D0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r Animation 2/5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9DB56D-F5EF-EC8C-9B01-2ADEC7409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EA3B60-2539-5C66-B93D-701A40BAEA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40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216D5F-D706-1CE2-D247-4C154CC087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Function</a:t>
            </a:r>
            <a:r>
              <a:rPr lang="de-DE" dirty="0"/>
              <a:t> 1: </a:t>
            </a:r>
            <a:r>
              <a:rPr lang="de-DE" dirty="0" err="1"/>
              <a:t>random_init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84074B6-7CF2-993F-3377-0EB3BD1D68A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485692-1F3D-64AE-E92A-E5BAFD951A5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6411E35-4B9D-EEA9-D7A3-7233A29A05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437" y="2172196"/>
            <a:ext cx="3924848" cy="193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09647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D0D5A2-F843-4E90-6E29-067BF76351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777E5-7517-9316-5C1E-F668C661F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r Animation 3/5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921F1E-3BFB-2CA2-78C2-47BFD1BE48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B0477-255E-0333-4F4A-69001E027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41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0D0B6B-B371-2473-F2C5-B1EA70CE7F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Function</a:t>
            </a:r>
            <a:r>
              <a:rPr lang="de-DE" dirty="0"/>
              <a:t> 2: upda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A6143BE-A0BF-42CC-7CCB-3703C20EB99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451385C-4646-C490-286E-5FEF0AD47EF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94A3D6-FF15-45A7-C948-C5B4E792AB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437" y="2266753"/>
            <a:ext cx="2514951" cy="2143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06104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A20E9-5367-6D12-1EB2-A6731F9DCF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3CB794-31B9-B535-6AED-F854673D3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r Animation 4/5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F7ADCA-CD1D-0DC6-1E5C-BEEB85ADF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E0A081-7428-F653-560A-E5590F501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42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4B53B2-385A-63A3-75E2-D9F3E6F37C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Initial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rray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tar </a:t>
            </a:r>
            <a:r>
              <a:rPr lang="de-DE" dirty="0" err="1"/>
              <a:t>objects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Setup: </a:t>
            </a:r>
            <a:r>
              <a:rPr lang="de-DE" dirty="0" err="1"/>
              <a:t>initialize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tar</a:t>
            </a:r>
            <a:r>
              <a:rPr lang="de-DE" dirty="0"/>
              <a:t> </a:t>
            </a:r>
            <a:r>
              <a:rPr lang="de-DE" dirty="0" err="1"/>
              <a:t>once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Loop: Update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tar</a:t>
            </a:r>
            <a:r>
              <a:rPr lang="de-DE" dirty="0"/>
              <a:t> and </a:t>
            </a:r>
            <a:r>
              <a:rPr lang="de-DE" dirty="0" err="1"/>
              <a:t>write</a:t>
            </a:r>
            <a:r>
              <a:rPr lang="de-DE" dirty="0"/>
              <a:t> </a:t>
            </a:r>
            <a:r>
              <a:rPr lang="de-DE" dirty="0" err="1"/>
              <a:t>star</a:t>
            </a:r>
            <a:r>
              <a:rPr lang="de-DE" dirty="0"/>
              <a:t> </a:t>
            </a:r>
            <a:r>
              <a:rPr lang="de-DE" dirty="0" err="1"/>
              <a:t>colo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ixel_buffer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210312-D10F-9FCC-F639-C3B0727C65E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597D0CA0-419A-1550-9F3C-5D0A97744E3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B4D57D-EB76-46B9-71D3-F0384160E1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437" y="2096283"/>
            <a:ext cx="1762371" cy="25721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BEB3D04-217E-ACB7-0218-501CD6D85C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437" y="2846672"/>
            <a:ext cx="4515480" cy="65731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01AFFE8-12E4-0A30-C162-346E666599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437" y="3997167"/>
            <a:ext cx="5087060" cy="1200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70524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5CE28-3025-E0E6-6D33-D937A5157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r Animation 5/5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AE600D-75BE-1942-2C8D-5CA288B62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DAC849-2F5D-8736-04FD-9EE03ECDA3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43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C04843-990E-F2CE-4BF0-F58A7ABE3D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More code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dd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ar</a:t>
            </a:r>
            <a:r>
              <a:rPr lang="de-DE" dirty="0"/>
              <a:t> </a:t>
            </a:r>
            <a:r>
              <a:rPr lang="de-DE" dirty="0" err="1"/>
              <a:t>animation</a:t>
            </a:r>
            <a:r>
              <a:rPr lang="de-DE" dirty="0"/>
              <a:t> </a:t>
            </a:r>
            <a:r>
              <a:rPr lang="de-DE" dirty="0" err="1"/>
              <a:t>prettier</a:t>
            </a:r>
            <a:endParaRPr lang="de-DE" dirty="0"/>
          </a:p>
          <a:p>
            <a:pPr marL="558900" lvl="1" indent="-342900"/>
            <a:r>
              <a:rPr lang="de-DE" dirty="0" err="1"/>
              <a:t>Brightnes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fading</a:t>
            </a:r>
            <a:r>
              <a:rPr lang="de-DE" dirty="0"/>
              <a:t> in and out</a:t>
            </a:r>
          </a:p>
          <a:p>
            <a:pPr marL="558900" lvl="1" indent="-342900"/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breaks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a </a:t>
            </a:r>
            <a:r>
              <a:rPr lang="de-DE" dirty="0" err="1"/>
              <a:t>star</a:t>
            </a:r>
            <a:r>
              <a:rPr lang="de-DE" dirty="0"/>
              <a:t> </a:t>
            </a:r>
            <a:r>
              <a:rPr lang="de-DE" dirty="0" err="1"/>
              <a:t>ends</a:t>
            </a:r>
            <a:r>
              <a:rPr lang="de-DE" dirty="0"/>
              <a:t> and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star</a:t>
            </a:r>
            <a:r>
              <a:rPr lang="de-DE" dirty="0"/>
              <a:t> </a:t>
            </a:r>
            <a:r>
              <a:rPr lang="de-DE" dirty="0" err="1"/>
              <a:t>beginns</a:t>
            </a:r>
            <a:r>
              <a:rPr lang="de-DE" dirty="0"/>
              <a:t> </a:t>
            </a:r>
          </a:p>
          <a:p>
            <a:pPr marL="558900" lvl="1" indent="-342900"/>
            <a:r>
              <a:rPr lang="de-DE" dirty="0" err="1"/>
              <a:t>Choosing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ainbow</a:t>
            </a:r>
            <a:r>
              <a:rPr lang="de-DE" dirty="0"/>
              <a:t> </a:t>
            </a:r>
            <a:r>
              <a:rPr lang="de-DE" dirty="0" err="1"/>
              <a:t>colors</a:t>
            </a:r>
            <a:r>
              <a:rPr lang="de-DE" dirty="0"/>
              <a:t> (</a:t>
            </a:r>
            <a:r>
              <a:rPr lang="de-DE" dirty="0" err="1"/>
              <a:t>wheel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/>
              <a:t>) 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87F5A20-4003-404C-1860-4612C29EFC0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8335DF99-F33E-74E1-FD11-69EC46E791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80742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CD76C1-E81A-4184-F6B5-A6490193D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rop Animatio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132E54-7D26-5657-00C7-B7DE67F035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F18B4E-DA31-FD37-5633-D08313AB74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44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522579-9CF9-AC23-E4B3-251752140B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/>
              <a:t>colorful</a:t>
            </a:r>
            <a:r>
              <a:rPr lang="de-DE" dirty="0"/>
              <a:t> </a:t>
            </a:r>
            <a:r>
              <a:rPr lang="de-DE" dirty="0" err="1"/>
              <a:t>raindrop</a:t>
            </a:r>
            <a:r>
              <a:rPr lang="de-DE" dirty="0"/>
              <a:t> </a:t>
            </a:r>
            <a:r>
              <a:rPr lang="de-DE" dirty="0" err="1"/>
              <a:t>running</a:t>
            </a:r>
            <a:r>
              <a:rPr lang="de-DE" dirty="0"/>
              <a:t> down </a:t>
            </a:r>
            <a:r>
              <a:rPr lang="de-DE" dirty="0" err="1"/>
              <a:t>the</a:t>
            </a:r>
            <a:r>
              <a:rPr lang="de-DE" dirty="0"/>
              <a:t> LED </a:t>
            </a:r>
            <a:r>
              <a:rPr lang="de-DE" dirty="0" err="1"/>
              <a:t>strip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Star </a:t>
            </a:r>
          </a:p>
          <a:p>
            <a:pPr marL="558900" lvl="1" indent="-342900"/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random_init</a:t>
            </a:r>
            <a:r>
              <a:rPr lang="de-DE" dirty="0"/>
              <a:t> and update</a:t>
            </a:r>
          </a:p>
          <a:p>
            <a:pPr marL="558900" lvl="1" indent="-342900"/>
            <a:r>
              <a:rPr lang="de-DE" dirty="0"/>
              <a:t>Parameter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lor</a:t>
            </a:r>
            <a:r>
              <a:rPr lang="de-DE" dirty="0"/>
              <a:t>, </a:t>
            </a:r>
            <a:r>
              <a:rPr lang="de-DE" dirty="0" err="1"/>
              <a:t>position</a:t>
            </a:r>
            <a:endParaRPr lang="de-DE" dirty="0"/>
          </a:p>
          <a:p>
            <a:pPr marL="558900" lvl="1" indent="-342900"/>
            <a:r>
              <a:rPr lang="de-DE" dirty="0" err="1"/>
              <a:t>Inst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lifetime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rop</a:t>
            </a:r>
            <a:r>
              <a:rPr lang="de-DE" dirty="0"/>
              <a:t> </a:t>
            </a:r>
            <a:r>
              <a:rPr lang="de-DE" dirty="0" err="1"/>
              <a:t>runs</a:t>
            </a:r>
            <a:r>
              <a:rPr lang="de-DE" dirty="0"/>
              <a:t> </a:t>
            </a:r>
            <a:r>
              <a:rPr lang="de-DE" dirty="0" err="1"/>
              <a:t>throug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rip</a:t>
            </a:r>
            <a:r>
              <a:rPr lang="de-DE" dirty="0"/>
              <a:t> and </a:t>
            </a:r>
            <a:r>
              <a:rPr lang="de-DE" dirty="0" err="1"/>
              <a:t>ends</a:t>
            </a:r>
            <a:r>
              <a:rPr lang="de-DE" dirty="0"/>
              <a:t> after </a:t>
            </a:r>
            <a:r>
              <a:rPr lang="de-DE" dirty="0" err="1"/>
              <a:t>running</a:t>
            </a:r>
            <a:r>
              <a:rPr lang="de-DE" dirty="0"/>
              <a:t>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rip</a:t>
            </a:r>
            <a:endParaRPr lang="de-DE" dirty="0"/>
          </a:p>
          <a:p>
            <a:pPr marL="558900" lvl="1" indent="-3429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647243B-60DA-986E-A780-C7208DCC3DE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BF9B6FDF-6283-14F4-D9A4-6BA579AC04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5712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942570-5DC9-D2AA-E1C2-78583E878F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0CA762-30D7-E0CB-5A3A-11DF1201F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: Arduino Uno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63C295-0E13-CB7A-8E4E-088006D68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61086A-A7DA-C14E-A97A-7E5FCCAC1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F2A8FB-2F79-DE87-775F-9AC9127718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1638000"/>
            <a:ext cx="9743989" cy="4446000"/>
          </a:xfrm>
        </p:spPr>
        <p:txBody>
          <a:bodyPr/>
          <a:lstStyle/>
          <a:p>
            <a:r>
              <a:rPr lang="en-US" dirty="0"/>
              <a:t>What does it hav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crocontroller ATmega328 with 20 MHz, 32 kB flash memory and 2 kB of 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4 Digital In/Out pins (6 can be used as PW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6 Analog Inpu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USB Conn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Power J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et Butt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-board 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CL/SDA pins (Serial Clock/ Serial Data pins)</a:t>
            </a:r>
          </a:p>
          <a:p>
            <a:pPr marL="216000" lvl="2" indent="0">
              <a:buNone/>
            </a:pP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ESP32 boards are more powerful, often with 240 MHz </a:t>
            </a:r>
            <a:br>
              <a:rPr lang="en-US" dirty="0"/>
            </a:br>
            <a:r>
              <a:rPr lang="en-US" dirty="0" err="1"/>
              <a:t>dualcore</a:t>
            </a:r>
            <a:r>
              <a:rPr lang="en-US" dirty="0"/>
              <a:t>, more memory, </a:t>
            </a:r>
            <a:r>
              <a:rPr lang="en-US" dirty="0" err="1"/>
              <a:t>WiFi</a:t>
            </a:r>
            <a:r>
              <a:rPr lang="en-US" dirty="0"/>
              <a:t> and Bluetoot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FE2CF80-195C-78AD-3B3B-34D720F6D7B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A42A567-3F45-E3DA-4FC8-D20219B1EB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500B7DCD-2A3E-C7EA-37A1-9918C57B9A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8842" y="3032234"/>
            <a:ext cx="2895600" cy="2032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12EC242-CF8E-6315-8AF8-01AB272AB95F}"/>
              </a:ext>
            </a:extLst>
          </p:cNvPr>
          <p:cNvCxnSpPr/>
          <p:nvPr/>
        </p:nvCxnSpPr>
        <p:spPr>
          <a:xfrm flipV="1">
            <a:off x="7568697" y="4508626"/>
            <a:ext cx="697117" cy="1077362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E37805A-6542-80DC-B4BF-C28398A93378}"/>
              </a:ext>
            </a:extLst>
          </p:cNvPr>
          <p:cNvSpPr txBox="1"/>
          <p:nvPr/>
        </p:nvSpPr>
        <p:spPr>
          <a:xfrm>
            <a:off x="7088865" y="5630412"/>
            <a:ext cx="1240324" cy="2849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de-DE" sz="1600" dirty="0"/>
              <a:t>ATmega328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706514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BC59AE-8DBB-4BD0-D079-8151578980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fferent </a:t>
            </a:r>
            <a:r>
              <a:rPr lang="de-DE" dirty="0" err="1"/>
              <a:t>Typ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rduino / ESP3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9E642B-F275-1850-D592-3F26942A2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63BEC2-2EED-5B7F-B4FB-1B9201D4B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39E380-E5FF-3F4F-62A3-E8C2724C82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30CA932-73CC-7409-E3F3-178D12C7397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C82D6C11-ABF8-9CAB-DBFA-6DE277540D8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1B907DC9-631E-571B-D835-CF9712B4F2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837" y="3999909"/>
            <a:ext cx="2286000" cy="197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B21485FA-ACD7-6FB9-A778-ABC5CB80D9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250" y="1638000"/>
            <a:ext cx="2895600" cy="2032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72E8593A-D3C6-8C4B-5CE1-E2EC64A9CA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609" y="3949920"/>
            <a:ext cx="2409825" cy="189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84E2EE2-C701-D46C-73DA-AE673F3D3A41}"/>
              </a:ext>
            </a:extLst>
          </p:cNvPr>
          <p:cNvSpPr txBox="1"/>
          <p:nvPr/>
        </p:nvSpPr>
        <p:spPr>
          <a:xfrm>
            <a:off x="825437" y="5871229"/>
            <a:ext cx="20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Arduino LilyPad</a:t>
            </a:r>
          </a:p>
          <a:p>
            <a:endParaRPr lang="en-US" b="1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46774D-2499-9F13-3D37-7E1233171531}"/>
              </a:ext>
            </a:extLst>
          </p:cNvPr>
          <p:cNvSpPr txBox="1"/>
          <p:nvPr/>
        </p:nvSpPr>
        <p:spPr>
          <a:xfrm>
            <a:off x="381669" y="3690826"/>
            <a:ext cx="20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Arduino Uno </a:t>
            </a:r>
          </a:p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361EF2-3FF3-7682-7511-BE0DEE633CE2}"/>
              </a:ext>
            </a:extLst>
          </p:cNvPr>
          <p:cNvSpPr txBox="1"/>
          <p:nvPr/>
        </p:nvSpPr>
        <p:spPr>
          <a:xfrm>
            <a:off x="3323837" y="5922614"/>
            <a:ext cx="20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DIY Arduino</a:t>
            </a:r>
          </a:p>
          <a:p>
            <a:pPr algn="ctr"/>
            <a:endParaRPr lang="en-US" b="1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15" name="Picture 14" descr="A close-up of a microchip&#10;&#10;Description automatically generated">
            <a:extLst>
              <a:ext uri="{FF2B5EF4-FFF2-40B4-BE49-F238E27FC236}">
                <a16:creationId xmlns:a16="http://schemas.microsoft.com/office/drawing/2014/main" id="{6A69D58A-16F7-7A11-7265-880544E0C4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43575" y="1686749"/>
            <a:ext cx="2310908" cy="231316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4119FEB-A3BB-4A96-87F4-237FEED988D1}"/>
              </a:ext>
            </a:extLst>
          </p:cNvPr>
          <p:cNvSpPr txBox="1"/>
          <p:nvPr/>
        </p:nvSpPr>
        <p:spPr>
          <a:xfrm>
            <a:off x="6943575" y="3690826"/>
            <a:ext cx="20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ESP32 WROOM 32</a:t>
            </a:r>
          </a:p>
          <a:p>
            <a:endParaRPr lang="en-US" b="1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18" name="Picture 17" descr="A close-up of a computer chip&#10;&#10;Description automatically generated">
            <a:extLst>
              <a:ext uri="{FF2B5EF4-FFF2-40B4-BE49-F238E27FC236}">
                <a16:creationId xmlns:a16="http://schemas.microsoft.com/office/drawing/2014/main" id="{8CBDB646-0861-6FFE-846D-DF649EF961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3838" y="3429000"/>
            <a:ext cx="1652372" cy="176659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23D9FC4-865E-B478-FFBB-2CCBDD351281}"/>
              </a:ext>
            </a:extLst>
          </p:cNvPr>
          <p:cNvSpPr txBox="1"/>
          <p:nvPr/>
        </p:nvSpPr>
        <p:spPr>
          <a:xfrm>
            <a:off x="9309163" y="5220000"/>
            <a:ext cx="2409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ESP32 WROOM 32E N8</a:t>
            </a:r>
          </a:p>
          <a:p>
            <a:endParaRPr lang="en-US" b="1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6263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C0108-F088-BFDC-418B-95638AADD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Code </a:t>
            </a:r>
            <a:r>
              <a:rPr lang="de-DE" dirty="0" err="1"/>
              <a:t>with</a:t>
            </a:r>
            <a:r>
              <a:rPr lang="de-DE" dirty="0"/>
              <a:t> Arduino / ESP3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39311F-66AD-ACDF-8654-2D64B66FA3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66B27F-465C-1A24-6983-408F40F5BC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6CDD41-F5A8-6F2B-F1E9-009632E5AB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You need to download Arduino IDE (Integrated Development Environment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rduino IDE is available for all Mac, Windows and Linux</a:t>
            </a:r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BAA7C7C-C3CC-17BB-4EF5-04031015815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7B72A48-BCAD-342E-9629-EB58393A9E7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855795-3A16-EC45-D949-7CC07EA04E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553" y="2622792"/>
            <a:ext cx="8458200" cy="265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65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9A9B9F-3BFE-EAC8-5259-28FCAD4A7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73BB6-7FA0-EE6E-235C-679D8E707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Code </a:t>
            </a:r>
            <a:r>
              <a:rPr lang="de-DE" dirty="0" err="1"/>
              <a:t>with</a:t>
            </a:r>
            <a:r>
              <a:rPr lang="de-DE" dirty="0"/>
              <a:t> Arduino / ESP3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2B452B-306A-1A91-00C4-7A86BF3B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9F29A2-16ED-313C-AAB5-98E2EA2BD1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A2B57D-BAA1-2C92-CCC1-1796921B35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You need to download Arduino IDE (Integrated Development Environment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rduino IDE is available for all Mac, Windows and Linux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For more complex projects, other IDEs are available, like a VS Code plugin (platform.io)</a:t>
            </a:r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A8EE65-9317-45F1-339F-207021C090C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83463D0B-A982-24CC-D184-4251A22403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267AA4-698B-C762-F1F3-A3219ACDF3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553" y="2622792"/>
            <a:ext cx="8458200" cy="265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5154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E3C35-F212-B2CD-8955-CA1967B120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un </a:t>
            </a:r>
            <a:r>
              <a:rPr lang="de-DE" dirty="0" err="1"/>
              <a:t>the</a:t>
            </a:r>
            <a:r>
              <a:rPr lang="de-DE" dirty="0"/>
              <a:t> Arduino ID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08D8F6-38D3-C4A2-EA66-284E21C64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NERTRAG Edit Footer for all slides in menu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A53E96-3F6B-92AD-8F9D-E541F06BE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869C4-A6B7-C94B-8090-B1B23BF5850A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4FDE0CA-B034-7F35-956D-335E3E3885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2" y="1638000"/>
            <a:ext cx="5073099" cy="4446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ce you have downloaded and installed/extracted the folder, you can directly run Arduino.exe, which will take you to its 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IDE will look like the shown screenshot</a:t>
            </a:r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18442F8-018D-5F35-0998-B19AF36F519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31420F-3AED-4072-A48F-C3C7B3EA5C0B}" type="datetime1">
              <a:rPr lang="en-GB" smtClean="0"/>
              <a:pPr/>
              <a:t>17/12/2024</a:t>
            </a:fld>
            <a:endParaRPr lang="en-GB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EB56DCD-6737-ED37-B443-6C405E4D4A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6E4F79A7-5477-A311-26D5-E4D5A17FC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01910" y="1664309"/>
            <a:ext cx="3757392" cy="4508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0487700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ERTRAG 16x9 PP template">
  <a:themeElements>
    <a:clrScheme name="enertrag_colors">
      <a:dk1>
        <a:srgbClr val="003056"/>
      </a:dk1>
      <a:lt1>
        <a:sysClr val="window" lastClr="FFFFFF"/>
      </a:lt1>
      <a:dk2>
        <a:srgbClr val="003056"/>
      </a:dk2>
      <a:lt2>
        <a:srgbClr val="F2F2F2"/>
      </a:lt2>
      <a:accent1>
        <a:srgbClr val="AA9C8F"/>
      </a:accent1>
      <a:accent2>
        <a:srgbClr val="FECB00"/>
      </a:accent2>
      <a:accent3>
        <a:srgbClr val="005A8B"/>
      </a:accent3>
      <a:accent4>
        <a:srgbClr val="00B1EB"/>
      </a:accent4>
      <a:accent5>
        <a:srgbClr val="3BAA35"/>
      </a:accent5>
      <a:accent6>
        <a:srgbClr val="969696"/>
      </a:accent6>
      <a:hlink>
        <a:srgbClr val="003056"/>
      </a:hlink>
      <a:folHlink>
        <a:srgbClr val="00305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25000"/>
          </a:lnSpc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861B0E9F-B02C-427A-9727-8F80F7ED62E0}" vid="{0F202404-D41E-43C0-92B7-9C9EC3BCD6C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f34d212-c9ae-49cc-99fa-9487163a9e3e">
      <Terms xmlns="http://schemas.microsoft.com/office/infopath/2007/PartnerControls"/>
    </lcf76f155ced4ddcb4097134ff3c332f>
    <TaxCatchAll xmlns="06c3c510-72c3-4dda-9be2-58347ba59a2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C521F5750CF65439F23B1845C5EA158" ma:contentTypeVersion="13" ma:contentTypeDescription="Ein neues Dokument erstellen." ma:contentTypeScope="" ma:versionID="e0e40aa6d7ac136d9cf23419433f9777">
  <xsd:schema xmlns:xsd="http://www.w3.org/2001/XMLSchema" xmlns:xs="http://www.w3.org/2001/XMLSchema" xmlns:p="http://schemas.microsoft.com/office/2006/metadata/properties" xmlns:ns2="2f34d212-c9ae-49cc-99fa-9487163a9e3e" xmlns:ns3="06c3c510-72c3-4dda-9be2-58347ba59a2d" targetNamespace="http://schemas.microsoft.com/office/2006/metadata/properties" ma:root="true" ma:fieldsID="ab2bef6daa66e3ff565becd9872fac85" ns2:_="" ns3:_="">
    <xsd:import namespace="2f34d212-c9ae-49cc-99fa-9487163a9e3e"/>
    <xsd:import namespace="06c3c510-72c3-4dda-9be2-58347ba59a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34d212-c9ae-49cc-99fa-9487163a9e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7b5c3532-d4f6-4010-a42b-1257cb2e1d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3c510-72c3-4dda-9be2-58347ba59a2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03de448c-511b-4003-a287-8f53249cba15}" ma:internalName="TaxCatchAll" ma:showField="CatchAllData" ma:web="06c3c510-72c3-4dda-9be2-58347ba59a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071AF24-4554-467C-8B5A-5446B7FD42C2}">
  <ds:schemaRefs>
    <ds:schemaRef ds:uri="http://schemas.microsoft.com/office/2006/documentManagement/types"/>
    <ds:schemaRef ds:uri="06c3c510-72c3-4dda-9be2-58347ba59a2d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2f34d212-c9ae-49cc-99fa-9487163a9e3e"/>
    <ds:schemaRef ds:uri="http://schemas.microsoft.com/office/2006/metadata/properties"/>
    <ds:schemaRef ds:uri="http://www.w3.org/XML/1998/namespac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7B02DC3-857C-45B9-87D5-C2F291FB9BF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D23591-EA18-4DA3-BE82-A2ED1A14C9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34d212-c9ae-49cc-99fa-9487163a9e3e"/>
    <ds:schemaRef ds:uri="06c3c510-72c3-4dda-9be2-58347ba59a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ERTRAG_PowerPoint-Template_EN_28042023</Template>
  <TotalTime>0</TotalTime>
  <Words>2234</Words>
  <Application>Microsoft Office PowerPoint</Application>
  <PresentationFormat>Widescreen</PresentationFormat>
  <Paragraphs>524</Paragraphs>
  <Slides>4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1" baseType="lpstr">
      <vt:lpstr>Arial</vt:lpstr>
      <vt:lpstr>Arial Narrow</vt:lpstr>
      <vt:lpstr>Calibri</vt:lpstr>
      <vt:lpstr>Times New Roman</vt:lpstr>
      <vt:lpstr>Wingdings</vt:lpstr>
      <vt:lpstr>ENERTRAG 16x9 PP template</vt:lpstr>
      <vt:lpstr>think-cell Slide</vt:lpstr>
      <vt:lpstr>Microcontroller</vt:lpstr>
      <vt:lpstr>Agenda</vt:lpstr>
      <vt:lpstr>Arduino / ESP32</vt:lpstr>
      <vt:lpstr>Example: Arduino Uno</vt:lpstr>
      <vt:lpstr>Example: Arduino Uno</vt:lpstr>
      <vt:lpstr>Different Types of Arduino / ESP32</vt:lpstr>
      <vt:lpstr>How to Code with Arduino / ESP32</vt:lpstr>
      <vt:lpstr>How to Code with Arduino / ESP32</vt:lpstr>
      <vt:lpstr>Run the Arduino IDE</vt:lpstr>
      <vt:lpstr>Run the Arduino IDE</vt:lpstr>
      <vt:lpstr>Run the Arduino IDE</vt:lpstr>
      <vt:lpstr>Inputs vs. Outputs</vt:lpstr>
      <vt:lpstr>Reading (Input) and Writing (Output) Data</vt:lpstr>
      <vt:lpstr>Upload Code: Board Selection</vt:lpstr>
      <vt:lpstr>Upload Code: Serial Port Selection</vt:lpstr>
      <vt:lpstr>Upload Code: Upload</vt:lpstr>
      <vt:lpstr>Agenda</vt:lpstr>
      <vt:lpstr>Push Button</vt:lpstr>
      <vt:lpstr>Push Button</vt:lpstr>
      <vt:lpstr>Rotary Encoder</vt:lpstr>
      <vt:lpstr>Rotary Encoder</vt:lpstr>
      <vt:lpstr>LEDs</vt:lpstr>
      <vt:lpstr>LEDs</vt:lpstr>
      <vt:lpstr>LEDs</vt:lpstr>
      <vt:lpstr>LEDs</vt:lpstr>
      <vt:lpstr>LEDs</vt:lpstr>
      <vt:lpstr>LEDs</vt:lpstr>
      <vt:lpstr>LEDs</vt:lpstr>
      <vt:lpstr>LEDs</vt:lpstr>
      <vt:lpstr>LEDs</vt:lpstr>
      <vt:lpstr>LEDs</vt:lpstr>
      <vt:lpstr>Agenda</vt:lpstr>
      <vt:lpstr>LEDs: Code Setup 1/2</vt:lpstr>
      <vt:lpstr>LEDs: Code Setup 1/2</vt:lpstr>
      <vt:lpstr>LEDs: Code Setup 1/2</vt:lpstr>
      <vt:lpstr>LEDs: Code Setup 2/2</vt:lpstr>
      <vt:lpstr>LEDs: Code Setup 2/2</vt:lpstr>
      <vt:lpstr>LEDs: Code Setup 2/2</vt:lpstr>
      <vt:lpstr>Star Animation 1/5</vt:lpstr>
      <vt:lpstr>Star Animation 2/5</vt:lpstr>
      <vt:lpstr>Star Animation 3/5</vt:lpstr>
      <vt:lpstr>Star Animation 4/5</vt:lpstr>
      <vt:lpstr>Star Animation 5/5</vt:lpstr>
      <vt:lpstr>Drop Ani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 Calibri Bold 32pt can run  over three lines</dc:title>
  <dc:creator>Josef Seefeldt</dc:creator>
  <cp:lastModifiedBy>Marlon Fleck</cp:lastModifiedBy>
  <cp:revision>24</cp:revision>
  <dcterms:created xsi:type="dcterms:W3CDTF">2023-09-08T12:29:07Z</dcterms:created>
  <dcterms:modified xsi:type="dcterms:W3CDTF">2024-12-17T08:4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521F5750CF65439F23B1845C5EA158</vt:lpwstr>
  </property>
  <property fmtid="{D5CDD505-2E9C-101B-9397-08002B2CF9AE}" pid="3" name="MediaServiceImageTags">
    <vt:lpwstr/>
  </property>
</Properties>
</file>